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2.xml" ContentType="application/vnd.openxmlformats-officedocument.them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3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heme/theme4.xml" ContentType="application/vnd.openxmlformats-officedocument.them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7" r:id="rId5"/>
    <p:sldMasterId id="2147483748" r:id="rId6"/>
  </p:sldMasterIdLst>
  <p:notesMasterIdLst>
    <p:notesMasterId r:id="rId21"/>
  </p:notesMasterIdLst>
  <p:sldIdLst>
    <p:sldId id="851" r:id="rId7"/>
    <p:sldId id="896" r:id="rId8"/>
    <p:sldId id="856" r:id="rId9"/>
    <p:sldId id="872" r:id="rId10"/>
    <p:sldId id="873" r:id="rId11"/>
    <p:sldId id="874" r:id="rId12"/>
    <p:sldId id="876" r:id="rId13"/>
    <p:sldId id="877" r:id="rId14"/>
    <p:sldId id="885" r:id="rId15"/>
    <p:sldId id="891" r:id="rId16"/>
    <p:sldId id="894" r:id="rId17"/>
    <p:sldId id="886" r:id="rId18"/>
    <p:sldId id="883" r:id="rId19"/>
    <p:sldId id="884" r:id="rId20"/>
  </p:sldIdLst>
  <p:sldSz cx="9144000" cy="6858000" type="screen4x3"/>
  <p:notesSz cx="6858000" cy="9144000"/>
  <p:custDataLst>
    <p:tags r:id="rId22"/>
  </p:custDataLst>
  <p:defaultTextStyle>
    <a:defPPr>
      <a:defRPr lang="es-C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elipe Ramirez" initials="FR" lastIdx="4" clrIdx="0">
    <p:extLst>
      <p:ext uri="{19B8F6BF-5375-455C-9EA6-DF929625EA0E}">
        <p15:presenceInfo xmlns:p15="http://schemas.microsoft.com/office/powerpoint/2012/main" userId="Felipe Ramirez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E600"/>
    <a:srgbClr val="1E1E24"/>
    <a:srgbClr val="FFFFFF"/>
    <a:srgbClr val="2E2E38"/>
    <a:srgbClr val="F2F2F2"/>
    <a:srgbClr val="393945"/>
    <a:srgbClr val="616175"/>
    <a:srgbClr val="44445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53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160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commentAuthors" Target="commentAuthor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gs" Target="tags/tag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A4C417-5B5C-4E48-B1F8-31BF1EAF5A80}" type="datetimeFigureOut">
              <a:rPr lang="es-CL" smtClean="0"/>
              <a:t>01-04-2022</a:t>
            </a:fld>
            <a:endParaRPr lang="es-CL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s-C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1709F03-7DAD-4311-9503-739910E216EF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170923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jpe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02.xml"/><Relationship Id="rId7" Type="http://schemas.openxmlformats.org/officeDocument/2006/relationships/image" Target="../media/image5.jpg"/><Relationship Id="rId2" Type="http://schemas.openxmlformats.org/officeDocument/2006/relationships/tags" Target="../tags/tag101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svg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3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7" Type="http://schemas.openxmlformats.org/officeDocument/2006/relationships/image" Target="../media/image5.jpg"/><Relationship Id="rId2" Type="http://schemas.openxmlformats.org/officeDocument/2006/relationships/tags" Target="../tags/tag105.xml"/><Relationship Id="rId1" Type="http://schemas.openxmlformats.org/officeDocument/2006/relationships/vmlDrawing" Target="../drawings/vmlDrawing5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3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18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7" Type="http://schemas.openxmlformats.org/officeDocument/2006/relationships/image" Target="../media/image5.jpg"/><Relationship Id="rId2" Type="http://schemas.openxmlformats.org/officeDocument/2006/relationships/tags" Target="../tags/tag109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3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jpe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jpeg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3.jpeg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4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.xml"/><Relationship Id="rId7" Type="http://schemas.openxmlformats.org/officeDocument/2006/relationships/image" Target="../media/image5.jp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7.svg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44.xml"/><Relationship Id="rId7" Type="http://schemas.openxmlformats.org/officeDocument/2006/relationships/image" Target="../media/image5.jpg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16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46.xml"/><Relationship Id="rId7" Type="http://schemas.openxmlformats.org/officeDocument/2006/relationships/image" Target="../media/image5.jpg"/><Relationship Id="rId2" Type="http://schemas.openxmlformats.org/officeDocument/2006/relationships/tags" Target="../tags/tag4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7" Type="http://schemas.openxmlformats.org/officeDocument/2006/relationships/image" Target="../media/image8.jpeg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5.jp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59.xml"/><Relationship Id="rId2" Type="http://schemas.openxmlformats.org/officeDocument/2006/relationships/tags" Target="../tags/tag58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65.xml"/><Relationship Id="rId2" Type="http://schemas.openxmlformats.org/officeDocument/2006/relationships/tags" Target="../tags/tag64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8.jpe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6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71.xml"/><Relationship Id="rId7" Type="http://schemas.openxmlformats.org/officeDocument/2006/relationships/image" Target="../media/image2.jpeg"/><Relationship Id="rId2" Type="http://schemas.openxmlformats.org/officeDocument/2006/relationships/tags" Target="../tags/tag70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73.xml"/><Relationship Id="rId7" Type="http://schemas.openxmlformats.org/officeDocument/2006/relationships/image" Target="../media/image3.jpeg"/><Relationship Id="rId2" Type="http://schemas.openxmlformats.org/officeDocument/2006/relationships/tags" Target="../tags/tag72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4.jpeg"/><Relationship Id="rId2" Type="http://schemas.openxmlformats.org/officeDocument/2006/relationships/tags" Target="../tags/tag7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7.xml"/><Relationship Id="rId7" Type="http://schemas.openxmlformats.org/officeDocument/2006/relationships/image" Target="../media/image5.jpg"/><Relationship Id="rId2" Type="http://schemas.openxmlformats.org/officeDocument/2006/relationships/tags" Target="../tags/tag76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7.sv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79.xml"/><Relationship Id="rId7" Type="http://schemas.openxmlformats.org/officeDocument/2006/relationships/image" Target="../media/image5.jpg"/><Relationship Id="rId2" Type="http://schemas.openxmlformats.org/officeDocument/2006/relationships/tags" Target="../tags/tag78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7" Type="http://schemas.openxmlformats.org/officeDocument/2006/relationships/image" Target="../media/image8.jpeg"/><Relationship Id="rId2" Type="http://schemas.openxmlformats.org/officeDocument/2006/relationships/tags" Target="../tags/tag80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w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85.xml"/><Relationship Id="rId7" Type="http://schemas.openxmlformats.org/officeDocument/2006/relationships/image" Target="../media/image18.png"/><Relationship Id="rId2" Type="http://schemas.openxmlformats.org/officeDocument/2006/relationships/tags" Target="../tags/tag84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89.xml"/><Relationship Id="rId2" Type="http://schemas.openxmlformats.org/officeDocument/2006/relationships/tags" Target="../tags/tag88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9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wmf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98.xml"/><Relationship Id="rId2" Type="http://schemas.openxmlformats.org/officeDocument/2006/relationships/tags" Target="../tags/tag97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EDCE97-7B80-4895-B535-C89EE094B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EDCE97-7B80-4895-B535-C89EE094B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1C6B2-FF46-46B4-8AA7-7AC3B19981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11CB18B-7E31-43C4-B265-E3D69A479EB8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3245F2-E54D-40AB-9520-565FCC8F14A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28275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2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A1F6A3-4A08-4930-BF5F-202920987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A1F6A3-4A08-4930-BF5F-202920987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B4A6A01-BFAD-44D8-A488-6636EA301A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3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4" y="2311408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4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2C7B75-070E-4FA8-81AA-5D744EC27B2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C7772A5-8127-445C-9FFF-311B936AE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EA5D51A-6FAB-455C-83B4-8C273E43421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12950196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29DBD-335A-435A-8745-2F341A9AAC4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F2E96CD-0372-4543-9043-8DA2385AFC9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327096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AA37B-3DF7-44DE-ABDD-431420C263D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06AA8F9-E6D3-4713-930E-DE675B26798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9420C9-73FE-47BF-81DC-188748534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860190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9712196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B05771F-985B-43A3-B810-16E3E1851D6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21C448-80AF-4B40-AAE7-DBC4C63542C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E27F68-ACB1-45A0-B422-9B5DD7CEE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045605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66A06-263B-4A4A-913D-FDC2AFF122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98955822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1B113FC-110C-4156-AE54-B6BF40969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8266616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98294673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06494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064949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37742626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937760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937760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7" y="5587588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7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7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90149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825779-5F2B-4814-A17A-3AE3D6BEC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825779-5F2B-4814-A17A-3AE3D6BEC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A232FA-E9FE-4AB8-9304-872E12EC99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442718"/>
            <a:ext cx="3716193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2" y="399049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2" y="4233140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8" y="3882880"/>
            <a:ext cx="583915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442724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939806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EDFAA0-E69B-4776-9581-7FC7C8BA877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AA2296-0CFE-4F19-BDDD-0C753CC0934D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70309A-4BBC-4563-9E03-2C048C80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32201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1A8E11-9109-40FB-9A44-E33C0825D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1A8E11-9109-40FB-9A44-E33C0825D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03D364A-648D-495C-829B-2C1867F4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20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9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CBCD5F7-0DF9-4123-86DA-C7F0BF0B7B5C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C7FAD92-CE7A-4C49-8006-4C2C2F71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FC47225-D3C6-4564-AB47-F2502123C96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39837136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CA10A-9A77-4291-B038-2BACB6C8510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71E4B-0556-40CB-8654-F5218F5DF7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9476919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7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7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D30FF40-FE04-4743-BEA8-340D9A5E0731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548782664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75375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79D94D-E6E3-49E6-88ED-6F504BDB0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9" t="222" r="16357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4421529"/>
            <a:ext cx="9144000" cy="243647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DEAA1CB-C754-4573-9400-CAAA34166A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200" y="1435991"/>
            <a:ext cx="4114800" cy="3469046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2568600"/>
            <a:ext cx="3593592" cy="860400"/>
          </a:xfrm>
          <a:prstGeom prst="rect">
            <a:avLst/>
          </a:prstGeom>
        </p:spPr>
        <p:txBody>
          <a:bodyPr lIns="0" rIns="0"/>
          <a:lstStyle>
            <a:lvl1pPr>
              <a:defRPr sz="3600" b="0">
                <a:solidFill>
                  <a:srgbClr val="2E2E38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8" y="3690911"/>
            <a:ext cx="359359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2E2E38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68202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975560-D3E0-480A-A1D5-D161AD9FE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975560-D3E0-480A-A1D5-D161AD9FE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2C366-73C3-4303-965A-4EEF40F5F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137920"/>
            <a:ext cx="8229600" cy="53238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32CBD22-2CA9-4945-932F-7F5D7B93434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5D9DF19-7557-4ACF-8FFF-F4BD7794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64748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54155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DD9FE-1C33-4003-AA89-3A607886E579}"/>
              </a:ext>
            </a:extLst>
          </p:cNvPr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9D94D-E6E3-49E6-88ED-6F504BDB0E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9" t="222" r="16357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384EE5-B821-4A04-AE53-77D648118494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2E2E38">
                <a:alpha val="72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8E0BB-C8A2-4D73-8BAC-A557B320F1F3}"/>
              </a:ext>
            </a:extLst>
          </p:cNvPr>
          <p:cNvSpPr/>
          <p:nvPr userDrawn="1"/>
        </p:nvSpPr>
        <p:spPr>
          <a:xfrm>
            <a:off x="0" y="0"/>
            <a:ext cx="429768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grpSp>
        <p:nvGrpSpPr>
          <p:cNvPr id="9" name="Gráfico 8">
            <a:extLst>
              <a:ext uri="{FF2B5EF4-FFF2-40B4-BE49-F238E27FC236}">
                <a16:creationId xmlns:a16="http://schemas.microsoft.com/office/drawing/2014/main" id="{06E2ACED-CA98-48B9-ABF0-4663CDB8797F}"/>
              </a:ext>
            </a:extLst>
          </p:cNvPr>
          <p:cNvGrpSpPr/>
          <p:nvPr userDrawn="1"/>
        </p:nvGrpSpPr>
        <p:grpSpPr>
          <a:xfrm>
            <a:off x="6400799" y="6040581"/>
            <a:ext cx="2442321" cy="562278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B92A5778-365F-4569-B28F-7DD210741514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48C260DC-90BC-4BBE-9945-10BBCDC0C14F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4" name="Gráfico 8">
              <a:extLst>
                <a:ext uri="{FF2B5EF4-FFF2-40B4-BE49-F238E27FC236}">
                  <a16:creationId xmlns:a16="http://schemas.microsoft.com/office/drawing/2014/main" id="{4A7DBD7A-B174-4976-ADCE-DFE794FF5A63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5" name="Forma libre: forma 14">
                <a:extLst>
                  <a:ext uri="{FF2B5EF4-FFF2-40B4-BE49-F238E27FC236}">
                    <a16:creationId xmlns:a16="http://schemas.microsoft.com/office/drawing/2014/main" id="{52B10C12-DE8B-4BF1-8F99-54F5938F4685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159BC312-F012-483E-8C22-12B7949805A6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E22914B7-8DB5-46C7-A22D-5F78CC0E01DD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632D9D2B-4BCF-4ECD-9C97-3F41854D12EA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97EA93FF-72D6-45B5-8CD0-7E93CB1AFB90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1225287A-D068-4406-BA97-E12D51F886DB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FDAA4785-CDE7-4957-BA7D-DD2F395108E3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785213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975560-D3E0-480A-A1D5-D161AD9FE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975560-D3E0-480A-A1D5-D161AD9FE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2C366-73C3-4303-965A-4EEF40F5F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137920"/>
            <a:ext cx="8229600" cy="53238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5D9DF19-7557-4ACF-8FFF-F4BD7794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538" y="199787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DF001754-7B82-4A64-A33B-FD6E987EF5F1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16748" y="-4376"/>
            <a:ext cx="836438" cy="1004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7907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00548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DD9FE-1C33-4003-AA89-3A607886E579}"/>
              </a:ext>
            </a:extLst>
          </p:cNvPr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9D94D-E6E3-49E6-88ED-6F504BDB0E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9" t="222" r="16357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384EE5-B821-4A04-AE53-77D648118494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2E2E38">
                <a:alpha val="72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8E0BB-C8A2-4D73-8BAC-A557B320F1F3}"/>
              </a:ext>
            </a:extLst>
          </p:cNvPr>
          <p:cNvSpPr/>
          <p:nvPr userDrawn="1"/>
        </p:nvSpPr>
        <p:spPr>
          <a:xfrm>
            <a:off x="0" y="0"/>
            <a:ext cx="429768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grpSp>
        <p:nvGrpSpPr>
          <p:cNvPr id="12" name="Gráfico 8">
            <a:extLst>
              <a:ext uri="{FF2B5EF4-FFF2-40B4-BE49-F238E27FC236}">
                <a16:creationId xmlns:a16="http://schemas.microsoft.com/office/drawing/2014/main" id="{0FA87123-5421-4329-97C0-E910879D86E2}"/>
              </a:ext>
            </a:extLst>
          </p:cNvPr>
          <p:cNvGrpSpPr/>
          <p:nvPr userDrawn="1"/>
        </p:nvGrpSpPr>
        <p:grpSpPr>
          <a:xfrm>
            <a:off x="6400799" y="6040581"/>
            <a:ext cx="2442321" cy="562278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3" name="Forma libre: forma 12">
              <a:extLst>
                <a:ext uri="{FF2B5EF4-FFF2-40B4-BE49-F238E27FC236}">
                  <a16:creationId xmlns:a16="http://schemas.microsoft.com/office/drawing/2014/main" id="{51B28226-6823-4B4A-AA9B-048B44572F7B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4" name="Forma libre: forma 13">
              <a:extLst>
                <a:ext uri="{FF2B5EF4-FFF2-40B4-BE49-F238E27FC236}">
                  <a16:creationId xmlns:a16="http://schemas.microsoft.com/office/drawing/2014/main" id="{42565FD9-9065-4BD3-BD34-69F07F9D9D00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5" name="Gráfico 8">
              <a:extLst>
                <a:ext uri="{FF2B5EF4-FFF2-40B4-BE49-F238E27FC236}">
                  <a16:creationId xmlns:a16="http://schemas.microsoft.com/office/drawing/2014/main" id="{2E4F2110-2AFC-4EB4-9719-B13E25604A73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0E174FB6-699C-491D-AF13-BA342222E04A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B85933A3-A89D-48C4-9EBE-3249CA73CC36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B3190EF2-EB47-485E-9B8B-C5F6B88F522F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48F12CB6-65DC-454C-AE40-D1CE33F46585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619128CB-BB55-4CB0-BC1E-2ABBFEDA4550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BC152E91-6061-419B-AC97-C446C965B567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2" name="Forma libre: forma 21">
                <a:extLst>
                  <a:ext uri="{FF2B5EF4-FFF2-40B4-BE49-F238E27FC236}">
                    <a16:creationId xmlns:a16="http://schemas.microsoft.com/office/drawing/2014/main" id="{5A86B635-A146-46FC-86E6-68974F9C7A4C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860269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DC2C5-BD39-41CB-A317-A9F2A791C3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4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DC2C5-BD39-41CB-A317-A9F2A791C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45ABC-A91F-4289-9C66-23D8A5B1426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D053650-E8F7-4947-A3A3-EA7F8B765D2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83B588F-5249-4ACA-98A3-559BD14CC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69268644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2" marR="0" lvl="0" indent="-267312" defTabSz="75549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41E2ED-6E26-46A5-B0CB-000051BE0FA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99BCD-B125-4A2C-99BE-313CA0DC67C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70DA34-B494-45A8-BC03-965DE056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86385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1104316"/>
            <a:ext cx="4476046" cy="575368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7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7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9CCEE76-ADAC-4C09-B6FF-B7180031AC2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E312FA-565E-431E-8E1D-39A64A5000E2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A03B6A-864A-433B-9C3D-CAF7541D7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3560430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3E10C5-61E3-4D70-B151-194049F9C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3E10C5-61E3-4D70-B151-194049F9C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73AAD93-B900-4E88-9543-87AE643A62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137927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5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5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137927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664C035-6A58-4B86-A7B1-540D1C3A5C34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88277F-9765-43FB-83BD-A056CD33BE9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D987C2C-EFA8-4964-9086-75E52A748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23846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098421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8" y="979793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4697221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9517561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E965D4-C3C7-4346-9959-A77147E2A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E965D4-C3C7-4346-9959-A77147E2A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FF2C14-E92B-4170-87FC-372C14F233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2">
              <a:defRPr>
                <a:solidFill>
                  <a:schemeClr val="bg1"/>
                </a:solidFill>
              </a:defRPr>
            </a:lvl2pPr>
            <a:lvl3pPr marL="534625">
              <a:defRPr>
                <a:solidFill>
                  <a:schemeClr val="bg1"/>
                </a:solidFill>
              </a:defRPr>
            </a:lvl3pPr>
            <a:lvl4pPr marL="801939">
              <a:defRPr>
                <a:solidFill>
                  <a:schemeClr val="bg1"/>
                </a:solidFill>
              </a:defRPr>
            </a:lvl4pPr>
            <a:lvl5pPr marL="1069251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9D85F-FCA3-430D-9DE7-15726AAD19A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44565B1-1C12-4961-9994-55DD9CFD92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18B8EDE-BB50-45B8-926A-0F1602781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821160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8BC152-3646-4137-99D5-F9D9854B0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8BC152-3646-4137-99D5-F9D9854B0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8D06B1-A8F6-4803-9DD7-FC1AE35C57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4"/>
            <a:ext cx="9144000" cy="68579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D745BA-40ED-4B86-9A4A-3502478392D8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566883-807B-4C75-88E7-FCB4DEB4FF5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72360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2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3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DEA52-5ACD-455D-A5D0-FA719880D0C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59990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6F3A292-C881-474B-A687-ABCC04075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6F3A292-C881-474B-A687-ABCC04075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A2074E3-3922-4520-AAA0-FC02C5DB22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3D75D-FE2A-4AE4-84E8-26A2D7A851BF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A1A5024-AE57-48A9-8B30-4A4E4A571E6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3A6C2F-A0AD-48F8-9C28-294782067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87641544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5DDDD85-39ED-4B97-8272-C9EA2BDA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5DDDD85-39ED-4B97-8272-C9EA2BDA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178E750-F596-44C8-8B75-68D6FC504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32F33D8-1A24-4E39-86C5-F6B07A9A5EB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6F40CD0-3515-4D66-ABC1-132FE7E67C0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64C692-6E4F-4F99-8185-5285F1F34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2232365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D4BB7-1E72-4EB8-993C-631EDB973C7A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76E2498-83AA-4630-BD11-5C711ECAA1F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43F7C68-5C91-4584-B3E1-AC9D49FA1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581941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675EF-0993-4A75-8666-036CDF26198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2E5A910-8397-44BA-B75C-41D673436B3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8A40D16-091D-476F-A5D7-3E7B6A82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90840586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29DBD-335A-435A-8745-2F341A9AAC4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F2E96CD-0372-4543-9043-8DA2385AFC9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7599731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AA37B-3DF7-44DE-ABDD-431420C263D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06AA8F9-E6D3-4713-930E-DE675B26798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9420C9-73FE-47BF-81DC-188748534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86464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586482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B05771F-985B-43A3-B810-16E3E1851D6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21C448-80AF-4B40-AAE7-DBC4C63542C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E27F68-ACB1-45A0-B422-9B5DD7CEE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6840218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66A06-263B-4A4A-913D-FDC2AFF122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7779766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83B26C-5BE4-456E-9EB4-C81F50F9F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83B26C-5BE4-456E-9EB4-C81F50F9F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9215A-78A5-41E6-A6D6-8576E9E6E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217F6C3-CBB4-4D61-BA23-090DB804ADF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54F20-0611-4BCF-A7DC-7C228016ED7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55719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2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1B113FC-110C-4156-AE54-B6BF40969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4407839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0560708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06494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064949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743692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937760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937760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7" y="5587588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7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7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95873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160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825779-5F2B-4814-A17A-3AE3D6BEC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825779-5F2B-4814-A17A-3AE3D6BEC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A232FA-E9FE-4AB8-9304-872E12EC99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442718"/>
            <a:ext cx="3716193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2" y="399049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2" y="4233140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8" y="3882880"/>
            <a:ext cx="583915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442724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939806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EDFAA0-E69B-4776-9581-7FC7C8BA877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AA2296-0CFE-4F19-BDDD-0C753CC0934D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70309A-4BBC-4563-9E03-2C048C80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4709059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CA10A-9A77-4291-B038-2BACB6C8510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71E4B-0556-40CB-8654-F5218F5DF7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92370366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7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7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D30FF40-FE04-4743-BEA8-340D9A5E0731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92626178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EDCE97-7B80-4895-B535-C89EE094B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EDCE97-7B80-4895-B535-C89EE094B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1C6B2-FF46-46B4-8AA7-7AC3B19981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11CB18B-7E31-43C4-B265-E3D69A479EB8}"/>
              </a:ext>
            </a:extLst>
          </p:cNvPr>
          <p:cNvSpPr/>
          <p:nvPr userDrawn="1"/>
        </p:nvSpPr>
        <p:spPr>
          <a:xfrm>
            <a:off x="-3177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3245F2-E54D-40AB-9520-565FCC8F14A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grpSp>
        <p:nvGrpSpPr>
          <p:cNvPr id="9" name="Gráfico 8">
            <a:extLst>
              <a:ext uri="{FF2B5EF4-FFF2-40B4-BE49-F238E27FC236}">
                <a16:creationId xmlns:a16="http://schemas.microsoft.com/office/drawing/2014/main" id="{8AC876B4-E93E-4679-A6A8-BC7893ADAB33}"/>
              </a:ext>
            </a:extLst>
          </p:cNvPr>
          <p:cNvGrpSpPr/>
          <p:nvPr userDrawn="1"/>
        </p:nvGrpSpPr>
        <p:grpSpPr>
          <a:xfrm>
            <a:off x="5361716" y="4710543"/>
            <a:ext cx="3010350" cy="811662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0" name="Forma libre: forma 9">
              <a:extLst>
                <a:ext uri="{FF2B5EF4-FFF2-40B4-BE49-F238E27FC236}">
                  <a16:creationId xmlns:a16="http://schemas.microsoft.com/office/drawing/2014/main" id="{0EA78139-0045-4548-93CB-56BFF8F10F03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A2B59655-C323-42AC-B0D7-9928B0CEB072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2" name="Gráfico 8">
              <a:extLst>
                <a:ext uri="{FF2B5EF4-FFF2-40B4-BE49-F238E27FC236}">
                  <a16:creationId xmlns:a16="http://schemas.microsoft.com/office/drawing/2014/main" id="{CA816C32-E67C-4656-B437-32A1AB4ED655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5" name="Forma libre: forma 14">
                <a:extLst>
                  <a:ext uri="{FF2B5EF4-FFF2-40B4-BE49-F238E27FC236}">
                    <a16:creationId xmlns:a16="http://schemas.microsoft.com/office/drawing/2014/main" id="{D5C0DDB4-023F-4573-878B-2A3ECCFDE138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CEA827C5-E8C4-4339-8B21-03CAAF7DD4BF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8C92AFBC-F716-428D-881E-D39C81B4E183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76D1779B-299E-4BE4-8424-A910227E3C6A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636C92F7-D5E0-4DCE-8394-AEEC641EC746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6F9711F9-2B8D-41FC-8F82-959D3228DBDA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15FE7FD6-111F-4BEF-8EEE-D0E005197F5C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034218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8BC152-3646-4137-99D5-F9D9854B0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8BC152-3646-4137-99D5-F9D9854B0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8D06B1-A8F6-4803-9DD7-FC1AE35C57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4"/>
            <a:ext cx="9144000" cy="68579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D745BA-40ED-4B86-9A4A-3502478392D8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566883-807B-4C75-88E7-FCB4DEB4FF5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39051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83B26C-5BE4-456E-9EB4-C81F50F9F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83B26C-5BE4-456E-9EB4-C81F50F9F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9215A-78A5-41E6-A6D6-8576E9E6E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217F6C3-CBB4-4D61-BA23-090DB804ADF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54F20-0611-4BCF-A7DC-7C228016ED7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4053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5753751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79D94D-E6E3-49E6-88ED-6F504BDB0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9" t="222" r="16357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4421529"/>
            <a:ext cx="9144000" cy="243647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DEAA1CB-C754-4573-9400-CAAA34166A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200" y="1435991"/>
            <a:ext cx="4114800" cy="3469046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2568600"/>
            <a:ext cx="3593592" cy="860400"/>
          </a:xfrm>
          <a:prstGeom prst="rect">
            <a:avLst/>
          </a:prstGeom>
        </p:spPr>
        <p:txBody>
          <a:bodyPr lIns="0" rIns="0"/>
          <a:lstStyle>
            <a:lvl1pPr>
              <a:defRPr sz="3600" b="0">
                <a:solidFill>
                  <a:srgbClr val="2E2E38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8" y="3690911"/>
            <a:ext cx="359359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2E2E38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4431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79D94D-E6E3-49E6-88ED-6F504BDB0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9" t="222" r="16357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4421529"/>
            <a:ext cx="9144000" cy="243647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DEAA1CB-C754-4573-9400-CAAA34166A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200" y="1435991"/>
            <a:ext cx="4114800" cy="3469046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2568600"/>
            <a:ext cx="3593592" cy="860400"/>
          </a:xfrm>
          <a:prstGeom prst="rect">
            <a:avLst/>
          </a:prstGeom>
        </p:spPr>
        <p:txBody>
          <a:bodyPr lIns="0" rIns="0"/>
          <a:lstStyle>
            <a:lvl1pPr>
              <a:defRPr sz="3600" b="0">
                <a:solidFill>
                  <a:srgbClr val="2E2E38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17804" y="3458023"/>
            <a:ext cx="359359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2E2E38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grpSp>
        <p:nvGrpSpPr>
          <p:cNvPr id="10" name="Gráfico 8">
            <a:extLst>
              <a:ext uri="{FF2B5EF4-FFF2-40B4-BE49-F238E27FC236}">
                <a16:creationId xmlns:a16="http://schemas.microsoft.com/office/drawing/2014/main" id="{3E42E029-0BB5-4512-B812-6117F9CFD2E3}"/>
              </a:ext>
            </a:extLst>
          </p:cNvPr>
          <p:cNvGrpSpPr/>
          <p:nvPr userDrawn="1"/>
        </p:nvGrpSpPr>
        <p:grpSpPr>
          <a:xfrm>
            <a:off x="704088" y="4267199"/>
            <a:ext cx="2482457" cy="475571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1" name="Forma libre: forma 10">
              <a:extLst>
                <a:ext uri="{FF2B5EF4-FFF2-40B4-BE49-F238E27FC236}">
                  <a16:creationId xmlns:a16="http://schemas.microsoft.com/office/drawing/2014/main" id="{683DFB1E-8863-4BD6-A25D-6D83BE71BD4A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2" name="Forma libre: forma 11">
              <a:extLst>
                <a:ext uri="{FF2B5EF4-FFF2-40B4-BE49-F238E27FC236}">
                  <a16:creationId xmlns:a16="http://schemas.microsoft.com/office/drawing/2014/main" id="{5EB49E8B-8149-4C83-9972-5AC7FC08756A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3" name="Gráfico 8">
              <a:extLst>
                <a:ext uri="{FF2B5EF4-FFF2-40B4-BE49-F238E27FC236}">
                  <a16:creationId xmlns:a16="http://schemas.microsoft.com/office/drawing/2014/main" id="{AC90CE58-6C72-49F0-B8D0-2D83C0803365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4" name="Forma libre: forma 13">
                <a:extLst>
                  <a:ext uri="{FF2B5EF4-FFF2-40B4-BE49-F238E27FC236}">
                    <a16:creationId xmlns:a16="http://schemas.microsoft.com/office/drawing/2014/main" id="{BC04006C-D14D-407B-B847-A026AC39DA09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5" name="Forma libre: forma 14">
                <a:extLst>
                  <a:ext uri="{FF2B5EF4-FFF2-40B4-BE49-F238E27FC236}">
                    <a16:creationId xmlns:a16="http://schemas.microsoft.com/office/drawing/2014/main" id="{A20D1757-28BC-4673-8960-8788B436B3AA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6" name="Forma libre: forma 15">
                <a:extLst>
                  <a:ext uri="{FF2B5EF4-FFF2-40B4-BE49-F238E27FC236}">
                    <a16:creationId xmlns:a16="http://schemas.microsoft.com/office/drawing/2014/main" id="{BC40E91A-9539-4526-ACFD-1027AFADAB0B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7" name="Forma libre: forma 16">
                <a:extLst>
                  <a:ext uri="{FF2B5EF4-FFF2-40B4-BE49-F238E27FC236}">
                    <a16:creationId xmlns:a16="http://schemas.microsoft.com/office/drawing/2014/main" id="{94A5F860-A833-49EB-BB99-1C3D19A4D786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1A452514-7BFA-469B-98B3-6FECB9D93658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236A6FAA-44C2-4C22-886F-4A2E5A69B29F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24373EE2-A5F4-4D77-A864-4133CA0C2466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23052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DD9FE-1C33-4003-AA89-3A607886E579}"/>
              </a:ext>
            </a:extLst>
          </p:cNvPr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9D94D-E6E3-49E6-88ED-6F504BDB0E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9" t="222" r="16357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384EE5-B821-4A04-AE53-77D648118494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2E2E38">
                <a:alpha val="72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8E0BB-C8A2-4D73-8BAC-A557B320F1F3}"/>
              </a:ext>
            </a:extLst>
          </p:cNvPr>
          <p:cNvSpPr/>
          <p:nvPr userDrawn="1"/>
        </p:nvSpPr>
        <p:spPr>
          <a:xfrm>
            <a:off x="0" y="0"/>
            <a:ext cx="429768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309251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alternate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62E0F9-BB40-4596-9EF1-5AA4A6F67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62E0F9-BB40-4596-9EF1-5AA4A6F67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5DDB44-10D8-4A70-B1B5-3012E40FE9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48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50" r="2225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7725B6E-C9C2-4020-B0F1-551E848CEA0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FE0A5D-50F2-4878-9D39-1DA03931AF1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729" y="1553153"/>
            <a:ext cx="6649193" cy="1255728"/>
          </a:xfrm>
        </p:spPr>
        <p:txBody>
          <a:bodyPr lIns="0" rIns="0">
            <a:spAutoFit/>
          </a:bodyPr>
          <a:lstStyle>
            <a:lvl1pPr>
              <a:defRPr sz="48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84729" y="2997139"/>
            <a:ext cx="6649193" cy="695575"/>
          </a:xfrm>
        </p:spPr>
        <p:txBody>
          <a:bodyPr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FFE60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96120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777246"/>
            <a:ext cx="6753225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20643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975560-D3E0-480A-A1D5-D161AD9FE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975560-D3E0-480A-A1D5-D161AD9FE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2C366-73C3-4303-965A-4EEF40F5F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137920"/>
            <a:ext cx="8229600" cy="53238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32CBD22-2CA9-4945-932F-7F5D7B93434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5D9DF19-7557-4ACF-8FFF-F4BD7794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3441191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6B0933-CA2C-4597-8A7E-21BEF596D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6B0933-CA2C-4597-8A7E-21BEF596D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A65B5D9-A21C-4641-8075-7A87387E94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57FC-BEB6-472D-B2FA-5939A6D4E9E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A96D41-33A5-436A-857A-7D4989E75F4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6A12E87-E183-42C5-87E3-AFA98E798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317514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A1F6A3-4A08-4930-BF5F-202920987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A1F6A3-4A08-4930-BF5F-202920987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B4A6A01-BFAD-44D8-A488-6636EA301A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3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4" y="2311408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4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2C7B75-070E-4FA8-81AA-5D744EC27B2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C7772A5-8127-445C-9FFF-311B936AE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EA5D51A-6FAB-455C-83B4-8C273E43421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244721825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1A8E11-9109-40FB-9A44-E33C0825D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1A8E11-9109-40FB-9A44-E33C0825D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03D364A-648D-495C-829B-2C1867F4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20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9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CBCD5F7-0DF9-4123-86DA-C7F0BF0B7B5C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C7FAD92-CE7A-4C49-8006-4C2C2F71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FC47225-D3C6-4564-AB47-F2502123C96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22404422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DC2C5-BD39-41CB-A317-A9F2A791C3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2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DC2C5-BD39-41CB-A317-A9F2A791C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45ABC-A91F-4289-9C66-23D8A5B1426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D053650-E8F7-4947-A3A3-EA7F8B765D2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83B588F-5249-4ACA-98A3-559BD14CC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19471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2" marR="0" lvl="0" indent="-267312" defTabSz="75549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41E2ED-6E26-46A5-B0CB-000051BE0FA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99BCD-B125-4A2C-99BE-313CA0DC67C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70DA34-B494-45A8-BC03-965DE056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466031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1541556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DD9FE-1C33-4003-AA89-3A607886E579}"/>
              </a:ext>
            </a:extLst>
          </p:cNvPr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9D94D-E6E3-49E6-88ED-6F504BDB0E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9" t="222" r="16357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384EE5-B821-4A04-AE53-77D648118494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2E2E38">
                <a:alpha val="72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8E0BB-C8A2-4D73-8BAC-A557B320F1F3}"/>
              </a:ext>
            </a:extLst>
          </p:cNvPr>
          <p:cNvSpPr/>
          <p:nvPr userDrawn="1"/>
        </p:nvSpPr>
        <p:spPr>
          <a:xfrm>
            <a:off x="0" y="0"/>
            <a:ext cx="429768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645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1104316"/>
            <a:ext cx="4476046" cy="575368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7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7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9CCEE76-ADAC-4C09-B6FF-B7180031AC2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E312FA-565E-431E-8E1D-39A64A5000E2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A03B6A-864A-433B-9C3D-CAF7541D7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4757583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3E10C5-61E3-4D70-B151-194049F9C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3E10C5-61E3-4D70-B151-194049F9C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73AAD93-B900-4E88-9543-87AE643A62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137927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5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5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137927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664C035-6A58-4B86-A7B1-540D1C3A5C34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88277F-9765-43FB-83BD-A056CD33BE9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D987C2C-EFA8-4964-9086-75E52A748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3948691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1342027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8" y="979793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100093310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68395847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E965D4-C3C7-4346-9959-A77147E2A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E965D4-C3C7-4346-9959-A77147E2A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FF2C14-E92B-4170-87FC-372C14F233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2">
              <a:defRPr>
                <a:solidFill>
                  <a:schemeClr val="bg1"/>
                </a:solidFill>
              </a:defRPr>
            </a:lvl2pPr>
            <a:lvl3pPr marL="534625">
              <a:defRPr>
                <a:solidFill>
                  <a:schemeClr val="bg1"/>
                </a:solidFill>
              </a:defRPr>
            </a:lvl3pPr>
            <a:lvl4pPr marL="801939">
              <a:defRPr>
                <a:solidFill>
                  <a:schemeClr val="bg1"/>
                </a:solidFill>
              </a:defRPr>
            </a:lvl4pPr>
            <a:lvl5pPr marL="1069251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9D85F-FCA3-430D-9DE7-15726AAD19A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44565B1-1C12-4961-9994-55DD9CFD92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18B8EDE-BB50-45B8-926A-0F1602781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922345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3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DEA52-5ACD-455D-A5D0-FA719880D0C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54883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6F3A292-C881-474B-A687-ABCC04075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6F3A292-C881-474B-A687-ABCC04075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A2074E3-3922-4520-AAA0-FC02C5DB22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3D75D-FE2A-4AE4-84E8-26A2D7A851BF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A1A5024-AE57-48A9-8B30-4A4E4A571E6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3A6C2F-A0AD-48F8-9C28-294782067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51528606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5DDDD85-39ED-4B97-8272-C9EA2BDA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5DDDD85-39ED-4B97-8272-C9EA2BDA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178E750-F596-44C8-8B75-68D6FC504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32F33D8-1A24-4E39-86C5-F6B07A9A5EB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6F40CD0-3515-4D66-ABC1-132FE7E67C0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64C692-6E4F-4F99-8185-5285F1F34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97547826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D4BB7-1E72-4EB8-993C-631EDB973C7A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76E2498-83AA-4630-BD11-5C711ECAA1F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43F7C68-5C91-4584-B3E1-AC9D49FA1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0812045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alternate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62E0F9-BB40-4596-9EF1-5AA4A6F67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62E0F9-BB40-4596-9EF1-5AA4A6F67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5DDB44-10D8-4A70-B1B5-3012E40FE9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48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50" r="2225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7725B6E-C9C2-4020-B0F1-551E848CEA0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FE0A5D-50F2-4878-9D39-1DA03931AF1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729" y="1553153"/>
            <a:ext cx="6649193" cy="1255728"/>
          </a:xfrm>
        </p:spPr>
        <p:txBody>
          <a:bodyPr lIns="0" rIns="0">
            <a:spAutoFit/>
          </a:bodyPr>
          <a:lstStyle>
            <a:lvl1pPr>
              <a:defRPr sz="48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84729" y="2997139"/>
            <a:ext cx="6649193" cy="695575"/>
          </a:xfrm>
        </p:spPr>
        <p:txBody>
          <a:bodyPr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FFE60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3902229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2" userDrawn="1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675EF-0993-4A75-8666-036CDF26198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2E5A910-8397-44BA-B75C-41D673436B3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8A40D16-091D-476F-A5D7-3E7B6A82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096269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1794857-4245-4B70-83AF-69EE834129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A29DBD-335A-435A-8745-2F341A9AAC4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716D39F-AAFD-4EAB-BBF7-D94D820E8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F2E96CD-0372-4543-9043-8DA2385AFC9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203853213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EDA18EF-1F4C-4097-BF3F-A4B7A60502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DAA37B-3DF7-44DE-ABDD-431420C263D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0196BC2-80B0-49AE-A845-81937D49D1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206AA8F9-E6D3-4713-930E-DE675B26798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219420C9-73FE-47BF-81DC-1887485348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777490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58388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0052CFA6-7CF5-41BD-9D94-2D0DAE108428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IN" dirty="0"/>
              <a:t>Video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ECDA38-9A54-405F-83FD-C2C8A8B87B30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B05771F-985B-43A3-B810-16E3E1851D6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94A337-C481-46B0-A487-BEEC61FC34F2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21C448-80AF-4B40-AAE7-DBC4C63542C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C2E27F68-ACB1-45A0-B422-9B5DD7CEE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5833459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9266A06-263B-4A4A-913D-FDC2AFF1227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185989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1B113FC-110C-4156-AE54-B6BF409697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8354934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8ABFE52-8B9C-459B-B350-E3ADCFE74B2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00" r="1250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5612" y="719139"/>
            <a:ext cx="3506400" cy="5210062"/>
          </a:xfrm>
        </p:spPr>
        <p:txBody>
          <a:bodyPr/>
          <a:lstStyle>
            <a:lvl1pPr marL="0" indent="0" algn="l" defTabSz="746105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1pPr>
            <a:lvl2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2pPr>
            <a:lvl3pPr marL="132086" indent="-13208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75" b="1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3pPr>
            <a:lvl4pPr marL="0" indent="0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600" kern="1200" noProof="0" dirty="0" smtClean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4pPr>
            <a:lvl5pPr marL="141606" indent="-141606" algn="l" defTabSz="746105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70000"/>
              <a:buFont typeface="Arial" pitchFamily="34" charset="0"/>
              <a:buChar char="►"/>
              <a:defRPr lang="en-US" sz="600" kern="1200" noProof="0" dirty="0">
                <a:solidFill>
                  <a:schemeClr val="bg1"/>
                </a:solidFill>
                <a:latin typeface="EYInterstate Light" panose="02000506000000020004" pitchFamily="2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071440446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5"/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064949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064949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1772314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5">
            <a:extLst>
              <a:ext uri="{FF2B5EF4-FFF2-40B4-BE49-F238E27FC236}">
                <a16:creationId xmlns:a16="http://schemas.microsoft.com/office/drawing/2014/main" id="{770C05D4-D8C4-4691-89DC-120E06C0A0E8}"/>
              </a:ext>
            </a:extLst>
          </p:cNvPr>
          <p:cNvSpPr>
            <a:spLocks noChangeAspect="1"/>
          </p:cNvSpPr>
          <p:nvPr userDrawn="1"/>
        </p:nvSpPr>
        <p:spPr bwMode="gray">
          <a:xfrm rot="10800000">
            <a:off x="470054" y="457199"/>
            <a:ext cx="4507059" cy="3805316"/>
          </a:xfrm>
          <a:custGeom>
            <a:avLst/>
            <a:gdLst>
              <a:gd name="connsiteX0" fmla="*/ 0 w 10000"/>
              <a:gd name="connsiteY0" fmla="*/ 0 h 9745"/>
              <a:gd name="connsiteX1" fmla="*/ 921 w 10000"/>
              <a:gd name="connsiteY1" fmla="*/ 9745 h 9745"/>
              <a:gd name="connsiteX2" fmla="*/ 10000 w 10000"/>
              <a:gd name="connsiteY2" fmla="*/ 7201 h 9745"/>
              <a:gd name="connsiteX3" fmla="*/ 10000 w 10000"/>
              <a:gd name="connsiteY3" fmla="*/ 0 h 9745"/>
              <a:gd name="connsiteX4" fmla="*/ 0 w 10000"/>
              <a:gd name="connsiteY4" fmla="*/ 0 h 9745"/>
              <a:gd name="connsiteX0" fmla="*/ 0 w 9079"/>
              <a:gd name="connsiteY0" fmla="*/ 0 h 10000"/>
              <a:gd name="connsiteX1" fmla="*/ 0 w 9079"/>
              <a:gd name="connsiteY1" fmla="*/ 10000 h 10000"/>
              <a:gd name="connsiteX2" fmla="*/ 9079 w 9079"/>
              <a:gd name="connsiteY2" fmla="*/ 7389 h 10000"/>
              <a:gd name="connsiteX3" fmla="*/ 9079 w 9079"/>
              <a:gd name="connsiteY3" fmla="*/ 0 h 10000"/>
              <a:gd name="connsiteX4" fmla="*/ 0 w 9079"/>
              <a:gd name="connsiteY4" fmla="*/ 0 h 10000"/>
              <a:gd name="connsiteX0" fmla="*/ 5 w 10000"/>
              <a:gd name="connsiteY0" fmla="*/ 2555 h 10000"/>
              <a:gd name="connsiteX1" fmla="*/ 0 w 10000"/>
              <a:gd name="connsiteY1" fmla="*/ 10000 h 10000"/>
              <a:gd name="connsiteX2" fmla="*/ 10000 w 10000"/>
              <a:gd name="connsiteY2" fmla="*/ 7389 h 10000"/>
              <a:gd name="connsiteX3" fmla="*/ 10000 w 10000"/>
              <a:gd name="connsiteY3" fmla="*/ 0 h 10000"/>
              <a:gd name="connsiteX4" fmla="*/ 5 w 10000"/>
              <a:gd name="connsiteY4" fmla="*/ 2555 h 10000"/>
              <a:gd name="connsiteX0" fmla="*/ 5 w 10000"/>
              <a:gd name="connsiteY0" fmla="*/ 0 h 7445"/>
              <a:gd name="connsiteX1" fmla="*/ 0 w 10000"/>
              <a:gd name="connsiteY1" fmla="*/ 7445 h 7445"/>
              <a:gd name="connsiteX2" fmla="*/ 10000 w 10000"/>
              <a:gd name="connsiteY2" fmla="*/ 4834 h 7445"/>
              <a:gd name="connsiteX3" fmla="*/ 10000 w 10000"/>
              <a:gd name="connsiteY3" fmla="*/ 7 h 7445"/>
              <a:gd name="connsiteX4" fmla="*/ 5 w 10000"/>
              <a:gd name="connsiteY4" fmla="*/ 0 h 7445"/>
              <a:gd name="connsiteX0" fmla="*/ 5 w 10000"/>
              <a:gd name="connsiteY0" fmla="*/ 0 h 10000"/>
              <a:gd name="connsiteX1" fmla="*/ 0 w 10000"/>
              <a:gd name="connsiteY1" fmla="*/ 10000 h 10000"/>
              <a:gd name="connsiteX2" fmla="*/ 8453 w 10000"/>
              <a:gd name="connsiteY2" fmla="*/ 7036 h 10000"/>
              <a:gd name="connsiteX3" fmla="*/ 10000 w 10000"/>
              <a:gd name="connsiteY3" fmla="*/ 9 h 10000"/>
              <a:gd name="connsiteX4" fmla="*/ 5 w 10000"/>
              <a:gd name="connsiteY4" fmla="*/ 0 h 10000"/>
              <a:gd name="connsiteX0" fmla="*/ 5 w 8453"/>
              <a:gd name="connsiteY0" fmla="*/ 4143 h 14143"/>
              <a:gd name="connsiteX1" fmla="*/ 0 w 8453"/>
              <a:gd name="connsiteY1" fmla="*/ 14143 h 14143"/>
              <a:gd name="connsiteX2" fmla="*/ 8453 w 8453"/>
              <a:gd name="connsiteY2" fmla="*/ 11179 h 14143"/>
              <a:gd name="connsiteX3" fmla="*/ 8453 w 8453"/>
              <a:gd name="connsiteY3" fmla="*/ 0 h 14143"/>
              <a:gd name="connsiteX4" fmla="*/ 5 w 8453"/>
              <a:gd name="connsiteY4" fmla="*/ 4143 h 14143"/>
              <a:gd name="connsiteX0" fmla="*/ 6 w 10000"/>
              <a:gd name="connsiteY0" fmla="*/ 0 h 10007"/>
              <a:gd name="connsiteX1" fmla="*/ 0 w 10000"/>
              <a:gd name="connsiteY1" fmla="*/ 10007 h 10007"/>
              <a:gd name="connsiteX2" fmla="*/ 10000 w 10000"/>
              <a:gd name="connsiteY2" fmla="*/ 7911 h 10007"/>
              <a:gd name="connsiteX3" fmla="*/ 10000 w 10000"/>
              <a:gd name="connsiteY3" fmla="*/ 7 h 10007"/>
              <a:gd name="connsiteX4" fmla="*/ 6 w 10000"/>
              <a:gd name="connsiteY4" fmla="*/ 0 h 100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7">
                <a:moveTo>
                  <a:pt x="6" y="0"/>
                </a:moveTo>
                <a:cubicBezTo>
                  <a:pt x="4" y="2358"/>
                  <a:pt x="2" y="7650"/>
                  <a:pt x="0" y="10007"/>
                </a:cubicBezTo>
                <a:lnTo>
                  <a:pt x="10000" y="7911"/>
                </a:lnTo>
                <a:lnTo>
                  <a:pt x="10000" y="7"/>
                </a:lnTo>
                <a:lnTo>
                  <a:pt x="6" y="0"/>
                </a:lnTo>
                <a:close/>
              </a:path>
            </a:pathLst>
          </a:custGeom>
          <a:solidFill>
            <a:srgbClr val="FFE6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/>
          </a:p>
        </p:txBody>
      </p:sp>
      <p:sp>
        <p:nvSpPr>
          <p:cNvPr id="11" name="Title 1"/>
          <p:cNvSpPr>
            <a:spLocks noGrp="1"/>
          </p:cNvSpPr>
          <p:nvPr>
            <p:ph type="ctrTitle" hasCustomPrompt="1"/>
          </p:nvPr>
        </p:nvSpPr>
        <p:spPr>
          <a:xfrm>
            <a:off x="750119" y="1677507"/>
            <a:ext cx="4937760" cy="860400"/>
          </a:xfrm>
        </p:spPr>
        <p:txBody>
          <a:bodyPr/>
          <a:lstStyle>
            <a:lvl1pPr>
              <a:defRPr b="0">
                <a:solidFill>
                  <a:srgbClr val="404040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</a:t>
            </a:r>
            <a:br>
              <a:rPr lang="en-GB" dirty="0"/>
            </a:br>
            <a:r>
              <a:rPr lang="en-GB" dirty="0"/>
              <a:t>30 point)</a:t>
            </a:r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50119" y="2685128"/>
            <a:ext cx="4937760" cy="645742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>
                <a:solidFill>
                  <a:srgbClr val="40404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GB" dirty="0">
                <a:latin typeface="EYInterstate" panose="02000503020000020004" pitchFamily="2" charset="0"/>
              </a:rPr>
              <a:t>XX Month 200X (EY Interstate bold 16 point)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D77AB755-0634-43A3-B427-C896D8448ABA}"/>
              </a:ext>
            </a:extLst>
          </p:cNvPr>
          <p:cNvCxnSpPr>
            <a:cxnSpLocks/>
          </p:cNvCxnSpPr>
          <p:nvPr userDrawn="1"/>
        </p:nvCxnSpPr>
        <p:spPr>
          <a:xfrm>
            <a:off x="1333184" y="5691442"/>
            <a:ext cx="5669280" cy="0"/>
          </a:xfrm>
          <a:prstGeom prst="line">
            <a:avLst/>
          </a:prstGeom>
          <a:ln>
            <a:solidFill>
              <a:srgbClr val="8282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5246095A-D7CE-45C6-8BF9-B5543F78C034}"/>
              </a:ext>
            </a:extLst>
          </p:cNvPr>
          <p:cNvSpPr txBox="1"/>
          <p:nvPr userDrawn="1"/>
        </p:nvSpPr>
        <p:spPr>
          <a:xfrm>
            <a:off x="461987" y="5587588"/>
            <a:ext cx="1045073" cy="197581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r>
              <a:rPr lang="en-GB" sz="1200" dirty="0">
                <a:solidFill>
                  <a:srgbClr val="828290"/>
                </a:solidFill>
                <a:latin typeface="EYInterstate Light" panose="02000506000000020004" pitchFamily="2" charset="0"/>
              </a:rPr>
              <a:t>Written by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D785C9C-C30C-4D97-AE69-8F7DD8E35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3187" y="6001571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8" name="Text Placeholder 16">
            <a:extLst>
              <a:ext uri="{FF2B5EF4-FFF2-40B4-BE49-F238E27FC236}">
                <a16:creationId xmlns:a16="http://schemas.microsoft.com/office/drawing/2014/main" id="{FE9ED2CF-644F-4B9E-820F-6BF4B84D684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33187" y="6199189"/>
            <a:ext cx="3089275" cy="180000"/>
          </a:xfrm>
        </p:spPr>
        <p:txBody>
          <a:bodyPr/>
          <a:lstStyle>
            <a:lvl1pPr marL="0" indent="0">
              <a:buNone/>
              <a:defRPr sz="1200">
                <a:solidFill>
                  <a:srgbClr val="FFD200"/>
                </a:solidFill>
                <a:latin typeface="EYInterstate Light" panose="02000506000000020004" pitchFamily="2" charset="0"/>
              </a:defRPr>
            </a:lvl1pPr>
          </a:lstStyle>
          <a:p>
            <a:pPr lvl="0"/>
            <a:r>
              <a:rPr lang="en-US" dirty="0"/>
              <a:t>Job Title</a:t>
            </a:r>
            <a:endParaRPr lang="en-GB" dirty="0"/>
          </a:p>
        </p:txBody>
      </p:sp>
      <p:sp>
        <p:nvSpPr>
          <p:cNvPr id="19" name="Picture Placeholder 19">
            <a:extLst>
              <a:ext uri="{FF2B5EF4-FFF2-40B4-BE49-F238E27FC236}">
                <a16:creationId xmlns:a16="http://schemas.microsoft.com/office/drawing/2014/main" id="{220D652C-43A8-4888-A086-F26EAFCF8D7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61983" y="5897024"/>
            <a:ext cx="576000" cy="576000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900">
                <a:solidFill>
                  <a:schemeClr val="bg1"/>
                </a:solidFill>
                <a:latin typeface="EYInterstate Light" panose="02000506000000020004" pitchFamily="2" charset="0"/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647512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16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777246"/>
            <a:ext cx="6753225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4104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C825779-5F2B-4814-A17A-3AE3D6BECA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C825779-5F2B-4814-A17A-3AE3D6BECA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CA232FA-E9FE-4AB8-9304-872E12EC998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442718"/>
            <a:ext cx="3716193" cy="4267457"/>
          </a:xfrm>
        </p:spPr>
        <p:txBody>
          <a:bodyPr/>
          <a:lstStyle/>
          <a:p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347312" y="3990497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347312" y="4233140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8" y="3882880"/>
            <a:ext cx="583915" cy="585216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442724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939806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0A0865A7-88A1-4179-82B7-13BDA35F141B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EBEDFAA0-E69B-4776-9581-7FC7C8BA877E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17C51E9-620F-4C67-9485-FC4B1DECDB10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E53B3B-B504-465C-9948-C1D8C2E6999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7BAA2296-0CFE-4F19-BDDD-0C753CC0934D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70309A-4BBC-4563-9E03-2C048C80D7F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9625876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240DE8-8F4D-4084-8CB3-259B7386B0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7F21B66-EF35-42E2-98F6-2B445D2588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1CA10A-9A77-4291-B038-2BACB6C85108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766EEFB-0946-4328-B1EF-7567E57C06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E9BE56A-99A8-45B4-A8F6-67B842B2AC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571E4B-0556-40CB-8654-F5218F5DF7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4166180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0"/>
            <a:ext cx="4476046" cy="6858000"/>
          </a:xfrm>
        </p:spPr>
        <p:txBody>
          <a:bodyPr/>
          <a:lstStyle/>
          <a:p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81937" y="2050889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81937" y="3312530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D5FA5F4-2C73-4B43-B1F9-ACD0523E32E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9D30FF40-FE04-4743-BEA8-340D9A5E0731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0F2117D-1604-45F6-B4EC-F3C188119CD6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BCD1EA-7C3D-4424-8A2B-88892F289C7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30350410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 sz="1400"/>
            </a:lvl1pPr>
          </a:lstStyle>
          <a:p>
            <a:pPr lvl="0"/>
            <a:r>
              <a:rPr lang="en-US" noProof="0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2016142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5613" y="1412875"/>
            <a:ext cx="3963987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 sz="2000"/>
            </a:lvl1pPr>
            <a:lvl2pPr marL="742950" marR="0" indent="-2857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" charset="0"/>
              <a:buChar char="►"/>
              <a:tabLst/>
              <a:defRPr sz="1800"/>
            </a:lvl2pPr>
            <a:lvl3pPr marL="1143000" marR="0" indent="-2857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" charset="0"/>
              <a:buChar char="►"/>
              <a:tabLst/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Click to edit Master text styles</a:t>
            </a:r>
          </a:p>
          <a:p>
            <a:pPr lvl="2"/>
            <a:r>
              <a:rPr lang="en-US" noProof="0" dirty="0"/>
              <a:t>Click to edit Master text styles</a:t>
            </a:r>
          </a:p>
          <a:p>
            <a:pPr lvl="3"/>
            <a:r>
              <a:rPr lang="en-US" noProof="0" dirty="0"/>
              <a:t>Click to edit Master text styles</a:t>
            </a:r>
          </a:p>
          <a:p>
            <a:pPr lvl="2"/>
            <a:endParaRPr lang="en-US" noProof="0" dirty="0"/>
          </a:p>
          <a:p>
            <a:pPr lvl="2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  <p:sp>
        <p:nvSpPr>
          <p:cNvPr id="5" name="Content Placeholder 2"/>
          <p:cNvSpPr>
            <a:spLocks noGrp="1"/>
          </p:cNvSpPr>
          <p:nvPr>
            <p:ph idx="10"/>
          </p:nvPr>
        </p:nvSpPr>
        <p:spPr>
          <a:xfrm>
            <a:off x="4572000" y="1447800"/>
            <a:ext cx="3963987" cy="451961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 sz="2000"/>
            </a:lvl1pPr>
            <a:lvl2pPr marL="742950" marR="0" indent="-2857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" charset="0"/>
              <a:buChar char="►"/>
              <a:tabLst/>
              <a:defRPr sz="1800"/>
            </a:lvl2pPr>
            <a:lvl3pPr marL="1143000" marR="0" indent="-285750" algn="l" defTabSz="91440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FFD200"/>
              </a:buClr>
              <a:buSzPct val="100000"/>
              <a:buFont typeface="Arial" charset="0"/>
              <a:buChar char="►"/>
              <a:tabLst/>
              <a:defRPr sz="16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 sz="140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SzPct val="100000"/>
              <a:defRPr/>
            </a:lvl5pPr>
          </a:lstStyle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Click to edit Master text styles</a:t>
            </a:r>
          </a:p>
          <a:p>
            <a:pPr lvl="2"/>
            <a:r>
              <a:rPr lang="en-US" noProof="0" dirty="0"/>
              <a:t>Click to edit Master text styles</a:t>
            </a:r>
          </a:p>
          <a:p>
            <a:pPr lvl="3"/>
            <a:r>
              <a:rPr lang="en-US" noProof="0" dirty="0"/>
              <a:t>Click to edit Master text styles</a:t>
            </a:r>
          </a:p>
          <a:p>
            <a:pPr lvl="2"/>
            <a:endParaRPr lang="en-US" noProof="0" dirty="0"/>
          </a:p>
          <a:p>
            <a:pPr lvl="2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  <a:p>
            <a:pPr lvl="1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1445887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4FD56CD8-966F-403F-B050-3995B8D94C9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48113" y="3008313"/>
            <a:ext cx="1185862" cy="48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13419741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4EDCE97-7B80-4895-B535-C89EE094B5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4EDCE97-7B80-4895-B535-C89EE094B5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BEB1C6B2-FF46-46B4-8AA7-7AC3B199814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11CB18B-7E31-43C4-B265-E3D69A479EB8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53245F2-E54D-40AB-9520-565FCC8F14A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1114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B8BC152-3646-4137-99D5-F9D9854B0E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B8BC152-3646-4137-99D5-F9D9854B0E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58D06B1-A8F6-4803-9DD7-FC1AE35C575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4"/>
            <a:ext cx="9144000" cy="685799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ACD745BA-40ED-4B86-9A4A-3502478392D8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E566883-807B-4C75-88E7-FCB4DEB4FF5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4361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83B26C-5BE4-456E-9EB4-C81F50F9F63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83B26C-5BE4-456E-9EB4-C81F50F9F63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3E9215A-78A5-41E6-A6D6-8576E9E6ED2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30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9144000" cy="6858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D217F6C3-CBB4-4D61-BA23-090DB804ADFB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9D54F20-0611-4BCF-A7DC-7C228016ED78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9943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9728712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079D94D-E6E3-49E6-88ED-6F504BDB0E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809" t="222" r="16357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E4BCCB2E-3515-42EB-B2C6-FB7D701D1793}"/>
              </a:ext>
            </a:extLst>
          </p:cNvPr>
          <p:cNvSpPr/>
          <p:nvPr userDrawn="1"/>
        </p:nvSpPr>
        <p:spPr>
          <a:xfrm>
            <a:off x="0" y="4421529"/>
            <a:ext cx="9144000" cy="2436471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</a:schemeClr>
              </a:gs>
              <a:gs pos="61000">
                <a:schemeClr val="bg2">
                  <a:alpha val="34000"/>
                </a:schemeClr>
              </a:gs>
              <a:gs pos="100000">
                <a:schemeClr val="bg2"/>
              </a:gs>
            </a:gsLst>
            <a:lin ang="54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n-IN" sz="1200" dirty="0">
              <a:solidFill>
                <a:schemeClr val="tx1"/>
              </a:solidFill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DDEAA1CB-C754-4573-9400-CAAA34166AAA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57200" y="1435991"/>
            <a:ext cx="4114800" cy="3469046"/>
          </a:xfrm>
          <a:prstGeom prst="rect">
            <a:avLst/>
          </a:prstGeom>
        </p:spPr>
      </p:pic>
      <p:sp>
        <p:nvSpPr>
          <p:cNvPr id="74" name="Title 1">
            <a:extLst>
              <a:ext uri="{FF2B5EF4-FFF2-40B4-BE49-F238E27FC236}">
                <a16:creationId xmlns:a16="http://schemas.microsoft.com/office/drawing/2014/main" id="{01B1427F-F1DB-442D-870C-2543A78EC30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088" y="2568600"/>
            <a:ext cx="3593592" cy="860400"/>
          </a:xfrm>
          <a:prstGeom prst="rect">
            <a:avLst/>
          </a:prstGeom>
        </p:spPr>
        <p:txBody>
          <a:bodyPr lIns="0" rIns="0"/>
          <a:lstStyle>
            <a:lvl1pPr>
              <a:defRPr sz="3600" b="0">
                <a:solidFill>
                  <a:srgbClr val="2E2E38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5" name="Subtitle 2">
            <a:extLst>
              <a:ext uri="{FF2B5EF4-FFF2-40B4-BE49-F238E27FC236}">
                <a16:creationId xmlns:a16="http://schemas.microsoft.com/office/drawing/2014/main" id="{97E0F9BC-39E2-4ADF-93B9-7358577711C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4088" y="3690911"/>
            <a:ext cx="359359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>
                <a:solidFill>
                  <a:srgbClr val="2E2E38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850535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975560-D3E0-480A-A1D5-D161AD9FE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975560-D3E0-480A-A1D5-D161AD9FE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2C366-73C3-4303-965A-4EEF40F5F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137920"/>
            <a:ext cx="8229600" cy="53238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32CBD22-2CA9-4945-932F-7F5D7B93434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5D9DF19-7557-4ACF-8FFF-F4BD7794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9635200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pproved question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3D2517-8C9F-4854-9B0B-796EBAF23E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7005487"/>
              </p:ext>
            </p:ext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3D2517-8C9F-4854-9B0B-796EBAF23E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D9EBCCD-8924-4B19-9CC5-4006DC7D07A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36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6D4DD9FE-1C33-4003-AA89-3A607886E579}"/>
              </a:ext>
            </a:extLst>
          </p:cNvPr>
          <p:cNvGrpSpPr/>
          <p:nvPr userDrawn="1"/>
        </p:nvGrpSpPr>
        <p:grpSpPr>
          <a:xfrm>
            <a:off x="0" y="0"/>
            <a:ext cx="9144000" cy="6858000"/>
            <a:chOff x="0" y="0"/>
            <a:chExt cx="9144000" cy="68580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A079D94D-E6E3-49E6-88ED-6F504BDB0E0F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8809" t="222" r="16357"/>
            <a:stretch/>
          </p:blipFill>
          <p:spPr>
            <a:xfrm>
              <a:off x="0" y="0"/>
              <a:ext cx="9144000" cy="6858000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CD384EE5-B821-4A04-AE53-77D648118494}"/>
                </a:ext>
              </a:extLst>
            </p:cNvPr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rgbClr val="2E2E38">
                <a:alpha val="72000"/>
              </a:srgb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 anchorCtr="0"/>
            <a:lstStyle/>
            <a:p>
              <a:pPr algn="ctr"/>
              <a:endParaRPr lang="es-CL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1" name="Rectangle 10">
            <a:extLst>
              <a:ext uri="{FF2B5EF4-FFF2-40B4-BE49-F238E27FC236}">
                <a16:creationId xmlns:a16="http://schemas.microsoft.com/office/drawing/2014/main" id="{0878E0BB-C8A2-4D73-8BAC-A557B320F1F3}"/>
              </a:ext>
            </a:extLst>
          </p:cNvPr>
          <p:cNvSpPr/>
          <p:nvPr userDrawn="1"/>
        </p:nvSpPr>
        <p:spPr>
          <a:xfrm>
            <a:off x="0" y="0"/>
            <a:ext cx="429768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01565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over alternate">
    <p:bg>
      <p:bgPr>
        <a:solidFill>
          <a:srgbClr val="2E2E3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D62E0F9-BB40-4596-9EF1-5AA4A6F672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D62E0F9-BB40-4596-9EF1-5AA4A6F672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B5DDB44-10D8-4A70-B1B5-3012E40FE9E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GB" sz="48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8EA5E8-D5CE-4885-9BCF-B4EBD809736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50" r="22250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77725B6E-C9C2-4020-B0F1-551E848CEA00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2E2E38">
              <a:alpha val="72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BFE0A5D-50F2-4878-9D39-1DA03931AF17}"/>
              </a:ext>
            </a:extLst>
          </p:cNvPr>
          <p:cNvSpPr/>
          <p:nvPr userDrawn="1"/>
        </p:nvSpPr>
        <p:spPr>
          <a:xfrm>
            <a:off x="3177" y="1087120"/>
            <a:ext cx="9140824" cy="3007360"/>
          </a:xfrm>
          <a:prstGeom prst="rect">
            <a:avLst/>
          </a:prstGeom>
          <a:solidFill>
            <a:srgbClr val="2E2E38">
              <a:alpha val="79000"/>
            </a:srgb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306FE6B-2888-42EC-9409-22E0C44C3EFB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584729" y="1553153"/>
            <a:ext cx="6649193" cy="1255728"/>
          </a:xfrm>
        </p:spPr>
        <p:txBody>
          <a:bodyPr lIns="0" rIns="0">
            <a:spAutoFit/>
          </a:bodyPr>
          <a:lstStyle>
            <a:lvl1pPr>
              <a:defRPr sz="4800" b="0">
                <a:solidFill>
                  <a:schemeClr val="bg1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GB" dirty="0"/>
              <a:t>Title (EY Interstate Light 30 point)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62FC3DF6-2861-4293-9E33-F3E405EF9FAB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584729" y="2997139"/>
            <a:ext cx="6649193" cy="695575"/>
          </a:xfrm>
        </p:spPr>
        <p:txBody>
          <a:bodyPr>
            <a:spAutoFit/>
          </a:bodyPr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 sz="1600" b="0">
                <a:solidFill>
                  <a:srgbClr val="FFE600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404040"/>
                </a:solidFill>
              </a:defRPr>
            </a:lvl2pPr>
            <a:lvl3pPr marL="9143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sz="1600" dirty="0"/>
              <a:t>Subtitle (EY Interstate 16 point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1200"/>
              </a:spcAft>
              <a:buClr>
                <a:schemeClr val="accent2"/>
              </a:buClr>
              <a:buSzPct val="70000"/>
              <a:buFont typeface="Arial" pitchFamily="34" charset="0"/>
              <a:buNone/>
              <a:tabLst/>
              <a:defRPr/>
            </a:pPr>
            <a:r>
              <a:rPr lang="en-IN" b="1" dirty="0"/>
              <a:t>XX Month 200X (EY Interstate bold 16 point)</a:t>
            </a:r>
          </a:p>
        </p:txBody>
      </p:sp>
    </p:spTree>
    <p:extLst>
      <p:ext uri="{BB962C8B-B14F-4D97-AF65-F5344CB8AC3E}">
        <p14:creationId xmlns:p14="http://schemas.microsoft.com/office/powerpoint/2010/main" val="495551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2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pproved question ta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>
            <a:extLst>
              <a:ext uri="{FF2B5EF4-FFF2-40B4-BE49-F238E27FC236}">
                <a16:creationId xmlns:a16="http://schemas.microsoft.com/office/drawing/2014/main" id="{7204B28E-7010-45B1-9A81-2C543F9490F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2" y="777246"/>
            <a:ext cx="6753225" cy="3400425"/>
          </a:xfrm>
          <a:prstGeom prst="rect">
            <a:avLst/>
          </a:prstGeom>
        </p:spPr>
      </p:pic>
      <p:sp>
        <p:nvSpPr>
          <p:cNvPr id="75" name="Subtitle 2">
            <a:extLst>
              <a:ext uri="{FF2B5EF4-FFF2-40B4-BE49-F238E27FC236}">
                <a16:creationId xmlns:a16="http://schemas.microsoft.com/office/drawing/2014/main" id="{24F2EA79-0822-4B81-90D8-1FA02CFB98D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88191" y="3258529"/>
            <a:ext cx="5943432" cy="64574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600">
                <a:solidFill>
                  <a:srgbClr val="FFFFFF"/>
                </a:solidFill>
                <a:latin typeface="EYInterstate" panose="02000503020000020004" pitchFamily="2" charset="0"/>
                <a:cs typeface="Arial" pitchFamily="34" charset="0"/>
              </a:defRPr>
            </a:lvl1pPr>
            <a:lvl2pPr marL="0" indent="0" algn="l">
              <a:buNone/>
              <a:defRPr sz="1600">
                <a:solidFill>
                  <a:srgbClr val="FFFFFF"/>
                </a:solidFill>
              </a:defRPr>
            </a:lvl2pPr>
            <a:lvl3pPr marL="0" indent="0" algn="l">
              <a:buNone/>
              <a:defRPr sz="1600">
                <a:solidFill>
                  <a:srgbClr val="FFFFFF"/>
                </a:solidFill>
              </a:defRPr>
            </a:lvl3pPr>
            <a:lvl4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9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3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subtitle style</a:t>
            </a:r>
            <a:endParaRPr lang="en-GB" dirty="0"/>
          </a:p>
        </p:txBody>
      </p:sp>
      <p:sp>
        <p:nvSpPr>
          <p:cNvPr id="76" name="Title 1">
            <a:extLst>
              <a:ext uri="{FF2B5EF4-FFF2-40B4-BE49-F238E27FC236}">
                <a16:creationId xmlns:a16="http://schemas.microsoft.com/office/drawing/2014/main" id="{EC2B6F8E-BD78-40B0-B08A-973D853594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88191" y="2288083"/>
            <a:ext cx="5943432" cy="860400"/>
          </a:xfrm>
          <a:prstGeom prst="rect">
            <a:avLst/>
          </a:prstGeom>
        </p:spPr>
        <p:txBody>
          <a:bodyPr/>
          <a:lstStyle>
            <a:lvl1pPr>
              <a:defRPr sz="3000" b="0">
                <a:solidFill>
                  <a:srgbClr val="FFFFFF"/>
                </a:solidFill>
                <a:latin typeface="EYInterstate Light" panose="02000506000000020004" pitchFamily="2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279" name="Picture 278">
            <a:extLst>
              <a:ext uri="{FF2B5EF4-FFF2-40B4-BE49-F238E27FC236}">
                <a16:creationId xmlns:a16="http://schemas.microsoft.com/office/drawing/2014/main" id="{5A33645C-A5C8-4EA5-A3D8-D74C0FE66CD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" y="5914517"/>
            <a:ext cx="3780000" cy="618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7012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975560-D3E0-480A-A1D5-D161AD9FE88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975560-D3E0-480A-A1D5-D161AD9FE88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CA2C366-73C3-4303-965A-4EEF40F5F81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CE7A319-28F8-4E6B-8249-40111354BC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B3A21D-493F-4B42-85B4-BCE5E8F929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0FC3EC46-D295-425C-8ED2-70D3C94626A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1" y="1137920"/>
            <a:ext cx="8229600" cy="53238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E5D9DF19-7557-4ACF-8FFF-F4BD779497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0538" y="199787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502173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6B0933-CA2C-4597-8A7E-21BEF596D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6B0933-CA2C-4597-8A7E-21BEF596D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A65B5D9-A21C-4641-8075-7A87387E94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57FC-BEB6-472D-B2FA-5939A6D4E9E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6A12E87-E183-42C5-87E3-AFA98E798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pic>
        <p:nvPicPr>
          <p:cNvPr id="10" name="Imagen 9">
            <a:extLst>
              <a:ext uri="{FF2B5EF4-FFF2-40B4-BE49-F238E27FC236}">
                <a16:creationId xmlns:a16="http://schemas.microsoft.com/office/drawing/2014/main" id="{50BC84D8-D959-447A-BFC3-3246AC77B2B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30629" y="148421"/>
            <a:ext cx="613371" cy="736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12623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EA1F6A3-4A08-4930-BF5F-202920987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EA1F6A3-4A08-4930-BF5F-202920987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B4A6A01-BFAD-44D8-A488-6636EA301AD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57201" y="1137921"/>
            <a:ext cx="5471882" cy="873760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57203" y="2311401"/>
            <a:ext cx="2683690" cy="384470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C7BD71A-882B-40FB-A05F-48ECC69FF73D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3245394" y="2311408"/>
            <a:ext cx="2683690" cy="1254759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D87D58C8-1517-42AA-8B2A-E449A3F6F02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3245394" y="4236721"/>
            <a:ext cx="2683690" cy="1944160"/>
          </a:xfrm>
        </p:spPr>
        <p:txBody>
          <a:bodyPr numCol="1"/>
          <a:lstStyle>
            <a:lvl1pPr marL="0" indent="0">
              <a:buNone/>
              <a:defRPr sz="1349">
                <a:solidFill>
                  <a:schemeClr val="bg1"/>
                </a:solidFill>
                <a:latin typeface="Georgia" panose="02040502050405020303" pitchFamily="18" charset="0"/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Quot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19BF30-77AC-4AB5-8632-BF71395C23E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42C7B75-070E-4FA8-81AA-5D744EC27B2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54475C-10CE-4EB1-B9D2-1AD083DB73E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8C7772A5-8127-445C-9FFF-311B936AEB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6EA5D51A-6FAB-455C-83B4-8C273E43421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332807174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31A8E11-9109-40FB-9A44-E33C0825DF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31A8E11-9109-40FB-9A44-E33C0825DF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903D364A-648D-495C-829B-2C1867F4F3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2020420" y="1137921"/>
            <a:ext cx="2056091" cy="5018184"/>
          </a:xfrm>
        </p:spPr>
        <p:txBody>
          <a:bodyPr/>
          <a:lstStyle>
            <a:lvl1pPr marL="0" indent="0">
              <a:buNone/>
              <a:defRPr sz="13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78D3272-120F-430D-AFB5-E93227EEEAAF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4293079" y="1137921"/>
            <a:ext cx="2101787" cy="5018184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FF4A6F8-D9C6-4FEE-9324-5200D308BB1F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FD13F91-AFC9-4CB0-B48E-B4031BDF7D7E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6611434" y="1137928"/>
            <a:ext cx="2075369" cy="2796151"/>
          </a:xfrm>
        </p:spPr>
        <p:txBody>
          <a:bodyPr numCol="1"/>
          <a:lstStyle>
            <a:lvl1pPr marL="0" indent="0">
              <a:buNone/>
              <a:defRPr sz="1049">
                <a:solidFill>
                  <a:schemeClr val="bg1"/>
                </a:solidFill>
              </a:defRPr>
            </a:lvl1pPr>
            <a:lvl2pPr marL="267312" indent="0">
              <a:buNone/>
              <a:defRPr sz="1349">
                <a:solidFill>
                  <a:schemeClr val="bg1"/>
                </a:solidFill>
              </a:defRPr>
            </a:lvl2pPr>
            <a:lvl3pPr marL="534625" indent="0">
              <a:buNone/>
              <a:defRPr sz="1199">
                <a:solidFill>
                  <a:schemeClr val="bg1"/>
                </a:solidFill>
              </a:defRPr>
            </a:lvl3pPr>
            <a:lvl4pPr marL="801939" indent="0">
              <a:buNone/>
              <a:defRPr sz="1049">
                <a:solidFill>
                  <a:schemeClr val="bg1"/>
                </a:solidFill>
              </a:defRPr>
            </a:lvl4pPr>
            <a:lvl5pPr marL="1069251" indent="0"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58BEC6-81BD-4A6C-A6CF-94332742F93B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6CBCD5F7-0DF9-4123-86DA-C7F0BF0B7B5C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4661FBF-9B0D-493C-BE46-3C702E0F65A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1C1F439-4CB5-472E-B792-D16C641535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AC7FAD92-CE7A-4C49-8006-4C2C2F719C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5FC47225-D3C6-4564-AB47-F2502123C963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</p:spTree>
    <p:extLst>
      <p:ext uri="{BB962C8B-B14F-4D97-AF65-F5344CB8AC3E}">
        <p14:creationId xmlns:p14="http://schemas.microsoft.com/office/powerpoint/2010/main" val="141783557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77DC2C5-BD39-41CB-A317-A9F2A791C3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0"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77DC2C5-BD39-41CB-A317-A9F2A791C3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349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1199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1049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D3198B-8C42-45EB-99DF-C3F1A2ABCB7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845ABC-A91F-4289-9C66-23D8A5B1426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5268C3-3843-40FF-9263-125A8E57D4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D053650-E8F7-4947-A3A3-EA7F8B765D2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683B588F-5249-4ACA-98A3-559BD14CC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728472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697C43D-4F1B-43DA-A0C6-DA6B6708E16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64464" y="2851522"/>
            <a:ext cx="3334113" cy="1202318"/>
          </a:xfrm>
        </p:spPr>
        <p:txBody>
          <a:bodyPr vert="horz" lIns="0" tIns="0" rIns="0" bIns="0" rtlCol="0" anchor="ctr" anchorCtr="0">
            <a:noAutofit/>
          </a:bodyPr>
          <a:lstStyle>
            <a:lvl1pPr marL="0" indent="0">
              <a:buNone/>
              <a:defRPr kumimoji="0" lang="en-IN" sz="2699" b="0" i="0" u="none" strike="noStrike" cap="none" spc="0" normalizeH="0" baseline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EYInterstate Light" panose="02000506000000020004" pitchFamily="2" charset="0"/>
                <a:ea typeface="+mj-ea"/>
                <a:cs typeface="+mj-cs"/>
              </a:defRPr>
            </a:lvl1pPr>
          </a:lstStyle>
          <a:p>
            <a:pPr marL="267312" marR="0" lvl="0" indent="-267312" defTabSz="755493" fontAlgn="auto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tabLst/>
            </a:pPr>
            <a:r>
              <a:rPr lang="en-US" dirty="0"/>
              <a:t>Chapter Title</a:t>
            </a:r>
            <a:endParaRPr lang="en-IN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2EF7B21-823B-4C1B-B44E-8C28E4ECCA2C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9741E2ED-6E26-46A5-B0CB-000051BE0FA0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CE9737-42F0-4F0F-A932-7FE9D402AE1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7A99BCD-B125-4A2C-99BE-313CA0DC67CF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E70DA34-B494-45A8-BC03-965DE05675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7246882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28F8CDB-776D-4811-AE2C-217236ECDEC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67955" y="1104316"/>
            <a:ext cx="4476046" cy="5753684"/>
          </a:xfrm>
        </p:spPr>
        <p:txBody>
          <a:bodyPr/>
          <a:lstStyle/>
          <a:p>
            <a:r>
              <a:rPr lang="en-US"/>
              <a:t>Click icon to add picture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26E96BA-E9E4-496B-8CA5-6DA27B8AD7E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7137" y="2578743"/>
            <a:ext cx="3401698" cy="1055708"/>
          </a:xfrm>
        </p:spPr>
        <p:txBody>
          <a:bodyPr/>
          <a:lstStyle>
            <a:lvl1pPr marL="0" indent="0">
              <a:buNone/>
              <a:defRPr sz="2249"/>
            </a:lvl1pPr>
          </a:lstStyle>
          <a:p>
            <a:pPr lvl="0"/>
            <a:r>
              <a:rPr lang="en-IN" dirty="0"/>
              <a:t>Chapter Title</a:t>
            </a:r>
          </a:p>
          <a:p>
            <a:pPr lvl="0"/>
            <a:r>
              <a:rPr lang="en-IN" dirty="0"/>
              <a:t>EY Interstate Light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1173C8A3-BA2F-497B-A214-45B02D73AF2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77137" y="3840384"/>
            <a:ext cx="3401698" cy="1055708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IN" dirty="0"/>
              <a:t>text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D2273DE-A8FD-43F9-A3D9-68970B4AF5D1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fld id="{B9CCEE76-ADAC-4C09-B6FF-B7180031AC2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02AE062-2E23-4013-8660-9CF8B9A843F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85E312FA-565E-431E-8E1D-39A64A5000E2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AA03B6A-864A-433B-9C3D-CAF7541D7F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271342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F36B0933-CA2C-4597-8A7E-21BEF596DA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F36B0933-CA2C-4597-8A7E-21BEF596DA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4A65B5D9-A21C-4641-8075-7A87387E94C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5AF1241-E9B6-4AFC-94DC-380325C3DE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D657FC-BEB6-472D-B2FA-5939A6D4E9E2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7181A62-2FE8-40E2-AD71-A2FCBF45A1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A96D41-33A5-436A-857A-7D4989E75F4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66A12E87-E183-42C5-87E3-AFA98E7984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>
            <a:lvl1pPr>
              <a:defRPr>
                <a:solidFill>
                  <a:srgbClr val="FFE600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2800735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ndard slide_no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F23E10C5-61E3-4D70-B151-194049F9C6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F23E10C5-61E3-4D70-B151-194049F9C6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873AAD93-B900-4E88-9543-87AE643A62F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95A2BE92-ABF7-4A82-BC35-00F28F500FED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457202" y="1137927"/>
            <a:ext cx="3716193" cy="4267457"/>
          </a:xfrm>
        </p:spPr>
        <p:txBody>
          <a:bodyPr/>
          <a:lstStyle/>
          <a:p>
            <a:r>
              <a:rPr lang="en-US"/>
              <a:t>Click icon to add table</a:t>
            </a:r>
            <a:endParaRPr lang="en-IN"/>
          </a:p>
        </p:txBody>
      </p:sp>
      <p:sp>
        <p:nvSpPr>
          <p:cNvPr id="10" name="Text Placeholder 16">
            <a:extLst>
              <a:ext uri="{FF2B5EF4-FFF2-40B4-BE49-F238E27FC236}">
                <a16:creationId xmlns:a16="http://schemas.microsoft.com/office/drawing/2014/main" id="{DA81FCAA-64D2-4A9C-B16E-9C4E3BB431B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41865" y="3813288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1" name="Text Placeholder 16">
            <a:extLst>
              <a:ext uri="{FF2B5EF4-FFF2-40B4-BE49-F238E27FC236}">
                <a16:creationId xmlns:a16="http://schemas.microsoft.com/office/drawing/2014/main" id="{03CDC117-35F2-47B2-85B2-29CB8EE7E09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541865" y="4055931"/>
            <a:ext cx="2315750" cy="180000"/>
          </a:xfrm>
        </p:spPr>
        <p:txBody>
          <a:bodyPr/>
          <a:lstStyle>
            <a:lvl1pPr marL="0" indent="0">
              <a:buNone/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Job Title to go here</a:t>
            </a:r>
            <a:endParaRPr lang="en-GB" dirty="0"/>
          </a:p>
        </p:txBody>
      </p:sp>
      <p:sp>
        <p:nvSpPr>
          <p:cNvPr id="14" name="Picture Placeholder 19">
            <a:extLst>
              <a:ext uri="{FF2B5EF4-FFF2-40B4-BE49-F238E27FC236}">
                <a16:creationId xmlns:a16="http://schemas.microsoft.com/office/drawing/2014/main" id="{00A15EA9-2372-4E06-83C2-1E13AB1FA62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589864" y="3578084"/>
            <a:ext cx="777600" cy="778959"/>
          </a:xfrm>
          <a:prstGeom prst="ellipse">
            <a:avLst/>
          </a:prstGeom>
        </p:spPr>
        <p:txBody>
          <a:bodyPr anchor="ctr"/>
          <a:lstStyle>
            <a:lvl1pPr marL="0" indent="0" algn="ctr">
              <a:buNone/>
              <a:defRPr sz="675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DB83DAE-9FEB-4E9C-85BA-A34BD239275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89867" y="1137927"/>
            <a:ext cx="4096935" cy="37380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 dirty="0"/>
              <a:t>Key Takeaways</a:t>
            </a:r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1ABE303-7041-4312-AD03-0E872AEF99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589867" y="1635009"/>
            <a:ext cx="4096935" cy="1611554"/>
          </a:xfrm>
        </p:spPr>
        <p:txBody>
          <a:bodyPr/>
          <a:lstStyle>
            <a:lvl1pPr marL="0" indent="0">
              <a:buNone/>
              <a:defRPr sz="1199"/>
            </a:lvl1pPr>
          </a:lstStyle>
          <a:p>
            <a:pPr lvl="0"/>
            <a:r>
              <a:rPr lang="en-US" dirty="0"/>
              <a:t>Content EY Interstate Light, 16pt, Lorem ipsum dolor, 12pt, </a:t>
            </a:r>
            <a:r>
              <a:rPr lang="en-US" dirty="0" err="1"/>
              <a:t>Utinam</a:t>
            </a:r>
            <a:r>
              <a:rPr lang="en-US" dirty="0"/>
              <a:t> </a:t>
            </a:r>
            <a:r>
              <a:rPr lang="en-US" dirty="0" err="1"/>
              <a:t>nonumy</a:t>
            </a:r>
            <a:r>
              <a:rPr lang="en-US" dirty="0"/>
              <a:t> </a:t>
            </a:r>
            <a:r>
              <a:rPr lang="en-US" dirty="0" err="1"/>
              <a:t>abhorreant</a:t>
            </a:r>
            <a:r>
              <a:rPr lang="en-US" dirty="0"/>
              <a:t> </a:t>
            </a:r>
            <a:r>
              <a:rPr lang="en-US" dirty="0" err="1"/>
              <a:t>sead</a:t>
            </a:r>
            <a:r>
              <a:rPr lang="en-US" dirty="0"/>
              <a:t>. </a:t>
            </a:r>
            <a:r>
              <a:rPr lang="en-US" dirty="0" err="1"/>
              <a:t>Putant</a:t>
            </a:r>
            <a:r>
              <a:rPr lang="en-US" dirty="0"/>
              <a:t> </a:t>
            </a:r>
            <a:r>
              <a:rPr lang="en-US" dirty="0" err="1"/>
              <a:t>probatus</a:t>
            </a:r>
            <a:r>
              <a:rPr lang="en-US" dirty="0"/>
              <a:t> id vis, ad his </a:t>
            </a:r>
            <a:r>
              <a:rPr lang="en-US" dirty="0" err="1"/>
              <a:t>meis</a:t>
            </a:r>
            <a:r>
              <a:rPr lang="en-US" dirty="0"/>
              <a:t> </a:t>
            </a:r>
            <a:r>
              <a:rPr lang="en-US" dirty="0" err="1"/>
              <a:t>habemus</a:t>
            </a:r>
            <a:r>
              <a:rPr lang="en-US" dirty="0"/>
              <a:t> </a:t>
            </a:r>
            <a:r>
              <a:rPr lang="en-US" dirty="0" err="1"/>
              <a:t>repudiare</a:t>
            </a:r>
            <a:r>
              <a:rPr lang="en-US" dirty="0"/>
              <a:t>, has an </a:t>
            </a:r>
            <a:r>
              <a:rPr lang="en-US" dirty="0" err="1"/>
              <a:t>pericula</a:t>
            </a:r>
            <a:r>
              <a:rPr lang="en-US" dirty="0"/>
              <a:t> </a:t>
            </a:r>
            <a:r>
              <a:rPr lang="en-US" dirty="0" err="1"/>
              <a:t>tractatos</a:t>
            </a:r>
            <a:r>
              <a:rPr lang="en-US" dirty="0"/>
              <a:t>. </a:t>
            </a:r>
            <a:r>
              <a:rPr lang="en-US" dirty="0" err="1"/>
              <a:t>Nec</a:t>
            </a:r>
            <a:r>
              <a:rPr lang="en-US" dirty="0"/>
              <a:t> </a:t>
            </a:r>
            <a:r>
              <a:rPr lang="en-US" dirty="0" err="1"/>
              <a:t>debitis</a:t>
            </a:r>
            <a:r>
              <a:rPr lang="en-US" dirty="0"/>
              <a:t> </a:t>
            </a:r>
            <a:r>
              <a:rPr lang="en-US" dirty="0" err="1"/>
              <a:t>dissentias</a:t>
            </a:r>
            <a:r>
              <a:rPr lang="en-US" dirty="0"/>
              <a:t> ad. </a:t>
            </a:r>
            <a:r>
              <a:rPr lang="en-US" dirty="0" err="1"/>
              <a:t>Patrioque</a:t>
            </a:r>
            <a:r>
              <a:rPr lang="en-US" dirty="0"/>
              <a:t> </a:t>
            </a:r>
            <a:r>
              <a:rPr lang="en-US" dirty="0" err="1"/>
              <a:t>voluptatum</a:t>
            </a:r>
            <a:r>
              <a:rPr lang="en-US" dirty="0"/>
              <a:t> </a:t>
            </a:r>
            <a:r>
              <a:rPr lang="en-US" dirty="0" err="1"/>
              <a:t>sed</a:t>
            </a:r>
            <a:r>
              <a:rPr lang="en-US" dirty="0"/>
              <a:t> ex, id </a:t>
            </a:r>
            <a:r>
              <a:rPr lang="en-US" dirty="0" err="1"/>
              <a:t>admodum</a:t>
            </a:r>
            <a:r>
              <a:rPr lang="en-US" dirty="0"/>
              <a:t>.</a:t>
            </a:r>
          </a:p>
          <a:p>
            <a:pPr lvl="0"/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F1D44C6-2A68-4AD7-9CC8-54BCF1002719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fld id="{9664C035-6A58-4B86-A7B1-540D1C3A5C34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62191FF-C540-403B-944B-8EC413F39BA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5F88277F-9765-43FB-83BD-A056CD33BE9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3D987C2C-EFA8-4964-9086-75E52A7485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677311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9542169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3" name="Text Placeholder 6">
            <a:extLst>
              <a:ext uri="{FF2B5EF4-FFF2-40B4-BE49-F238E27FC236}">
                <a16:creationId xmlns:a16="http://schemas.microsoft.com/office/drawing/2014/main" id="{BD7B1EAA-D62E-426F-9D29-F674CEB29C3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926000" y="2060235"/>
            <a:ext cx="5292000" cy="3025522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 algn="ctr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C43D8C34-69FC-4DEE-BC95-D2F629475EB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926000" y="5516838"/>
            <a:ext cx="5292000" cy="316838"/>
          </a:xfrm>
        </p:spPr>
        <p:txBody>
          <a:bodyPr lIns="0" tIns="0" rIns="0" bIns="0">
            <a:noAutofit/>
          </a:bodyPr>
          <a:lstStyle>
            <a:lvl1pPr marL="0" indent="0" algn="ctr">
              <a:buNone/>
              <a:defRPr lang="en-US" sz="1600" dirty="0" smtClean="0">
                <a:solidFill>
                  <a:srgbClr val="FFE600"/>
                </a:solidFill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Name Surname</a:t>
            </a:r>
          </a:p>
        </p:txBody>
      </p:sp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8E78FCBB-C01D-4FF8-828E-0E27552CA9C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926000" y="5828877"/>
            <a:ext cx="5292000" cy="316838"/>
          </a:xfrm>
        </p:spPr>
        <p:txBody>
          <a:bodyPr vert="horz" lIns="0" tIns="0" rIns="0" bIns="0" rtlCol="0" anchor="t" anchorCtr="0">
            <a:noAutofit/>
          </a:bodyPr>
          <a:lstStyle>
            <a:lvl1pPr marL="0" indent="0" algn="ctr">
              <a:buNone/>
              <a:defRPr lang="en-US" sz="1600" dirty="0" smtClean="0">
                <a:latin typeface="+mn-lt"/>
              </a:defRPr>
            </a:lvl1pPr>
          </a:lstStyle>
          <a:p>
            <a:pPr marL="356607" lvl="0" indent="-356607" algn="ctr">
              <a:spcBef>
                <a:spcPts val="0"/>
              </a:spcBef>
              <a:spcAft>
                <a:spcPts val="600"/>
              </a:spcAft>
            </a:pPr>
            <a:r>
              <a:rPr lang="en-US" dirty="0"/>
              <a:t>Job Title</a:t>
            </a:r>
          </a:p>
        </p:txBody>
      </p:sp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0AD41D48-C813-4F78-A2C8-0758D2B7DC18}"/>
              </a:ext>
            </a:extLst>
          </p:cNvPr>
          <p:cNvSpPr txBox="1">
            <a:spLocks/>
          </p:cNvSpPr>
          <p:nvPr userDrawn="1"/>
        </p:nvSpPr>
        <p:spPr>
          <a:xfrm>
            <a:off x="3402808" y="979793"/>
            <a:ext cx="2338388" cy="88268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 </a:t>
            </a:r>
          </a:p>
        </p:txBody>
      </p:sp>
    </p:spTree>
    <p:extLst>
      <p:ext uri="{BB962C8B-B14F-4D97-AF65-F5344CB8AC3E}">
        <p14:creationId xmlns:p14="http://schemas.microsoft.com/office/powerpoint/2010/main" val="5656078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andard slide_Quo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FF607F99-5C2B-4FC6-A3DF-23E011C8426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4464" y="6327648"/>
            <a:ext cx="402504" cy="411480"/>
          </a:xfrm>
          <a:prstGeom prst="rect">
            <a:avLst/>
          </a:prstGeom>
        </p:spPr>
      </p:pic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8FBE9395-9BF1-4306-9F29-1F8E92C9F8DB}"/>
              </a:ext>
            </a:extLst>
          </p:cNvPr>
          <p:cNvSpPr txBox="1">
            <a:spLocks/>
          </p:cNvSpPr>
          <p:nvPr userDrawn="1"/>
        </p:nvSpPr>
        <p:spPr>
          <a:xfrm>
            <a:off x="375751" y="1488927"/>
            <a:ext cx="2338388" cy="858838"/>
          </a:xfrm>
          <a:prstGeom prst="rect">
            <a:avLst/>
          </a:prstGeom>
        </p:spPr>
        <p:txBody>
          <a:bodyPr/>
          <a:lstStyle>
            <a:lvl1pPr marL="356616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713232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20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1069848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1426464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1783080" indent="-356616" algn="l" defTabSz="9144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Arial" pitchFamily="34" charset="0"/>
              <a:buChar char="►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11200" dirty="0">
                <a:solidFill>
                  <a:schemeClr val="tx2"/>
                </a:solidFill>
                <a:latin typeface="Georgia" panose="02040502050405020303" pitchFamily="18" charset="0"/>
              </a:rPr>
              <a:t>“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87DD12F9-AC78-4784-A2C0-5FB6EC5AA31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11750" y="2526765"/>
            <a:ext cx="5292000" cy="1800000"/>
          </a:xfrm>
        </p:spPr>
        <p:txBody>
          <a:bodyPr lIns="90000" tIns="46800" rIns="90000" bIns="46800"/>
          <a:lstStyle>
            <a:lvl1pPr marL="0" indent="0">
              <a:buNone/>
              <a:defRPr lang="en-US" sz="2800" dirty="0" smtClean="0">
                <a:latin typeface="Georgia" panose="02040502050405020303" pitchFamily="18" charset="0"/>
              </a:defRPr>
            </a:lvl1pPr>
          </a:lstStyle>
          <a:p>
            <a:pPr marL="356607" lvl="0" indent="-356607">
              <a:spcBef>
                <a:spcPts val="0"/>
              </a:spcBef>
            </a:pPr>
            <a:r>
              <a:rPr lang="en-US" dirty="0"/>
              <a:t>Edit Master text styles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3BB2527F-4DCE-4CB5-A96D-2E432FD5A07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1750" y="4632765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Name Surnam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47DFFB3C-E689-440E-8EDB-465853B3460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11750" y="4971442"/>
            <a:ext cx="5292000" cy="316838"/>
          </a:xfrm>
        </p:spPr>
        <p:txBody>
          <a:bodyPr lIns="90000" tIns="46800" rIns="90000" bIns="46800"/>
          <a:lstStyle>
            <a:lvl1pPr marL="0" indent="0" algn="l" defTabSz="914377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70000"/>
              <a:buFont typeface="Arial" pitchFamily="34" charset="0"/>
              <a:buNone/>
              <a:defRPr lang="en-US" sz="1600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56607" indent="0">
              <a:buNone/>
              <a:defRPr lang="en-US" sz="2000" smtClean="0">
                <a:latin typeface="+mn-lt"/>
              </a:defRPr>
            </a:lvl2pPr>
            <a:lvl3pPr>
              <a:defRPr lang="en-US" sz="1800" smtClean="0">
                <a:latin typeface="+mn-lt"/>
              </a:defRPr>
            </a:lvl3pPr>
            <a:lvl4pPr>
              <a:defRPr lang="en-US" sz="1600" smtClean="0">
                <a:latin typeface="+mn-lt"/>
              </a:defRPr>
            </a:lvl4pPr>
            <a:lvl5pPr>
              <a:defRPr lang="en-IN" sz="1600">
                <a:latin typeface="+mn-lt"/>
              </a:defRPr>
            </a:lvl5pPr>
          </a:lstStyle>
          <a:p>
            <a:pPr marL="0" lvl="0" indent="0">
              <a:spcBef>
                <a:spcPts val="0"/>
              </a:spcBef>
              <a:buNone/>
            </a:pPr>
            <a:r>
              <a:rPr lang="en-US" dirty="0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37454816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slide_no_first_level_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FE965D4-C3C7-4346-9959-A77147E2A7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FE965D4-C3C7-4346-9959-A77147E2A7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BFF2C14-E92B-4170-87FC-372C14F233A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4" y="1137920"/>
            <a:ext cx="6175841" cy="4834800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267312">
              <a:defRPr>
                <a:solidFill>
                  <a:schemeClr val="bg1"/>
                </a:solidFill>
              </a:defRPr>
            </a:lvl2pPr>
            <a:lvl3pPr marL="534625">
              <a:defRPr>
                <a:solidFill>
                  <a:schemeClr val="bg1"/>
                </a:solidFill>
              </a:defRPr>
            </a:lvl3pPr>
            <a:lvl4pPr marL="801939">
              <a:defRPr>
                <a:solidFill>
                  <a:schemeClr val="bg1"/>
                </a:solidFill>
              </a:defRPr>
            </a:lvl4pPr>
            <a:lvl5pPr marL="1069251">
              <a:defRPr sz="9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B26A883D-CB1B-44DF-B864-E08C3B09A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09D85F-FCA3-430D-9DE7-15726AAD19A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2D518928-6D8C-4DEF-879C-4C4BB7FFA2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44565B1-1C12-4961-9994-55DD9CFD9250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418B8EDE-BB50-45B8-926A-0F1602781A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5819586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, no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94200"/>
            <a:ext cx="8229600" cy="59088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Line 10">
            <a:extLst>
              <a:ext uri="{FF2B5EF4-FFF2-40B4-BE49-F238E27FC236}">
                <a16:creationId xmlns:a16="http://schemas.microsoft.com/office/drawing/2014/main" id="{8E9B660A-29E5-49A2-9D87-2D7C78CC1148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457203" y="907750"/>
            <a:ext cx="8258782" cy="0"/>
          </a:xfrm>
          <a:prstGeom prst="line">
            <a:avLst/>
          </a:prstGeom>
          <a:noFill/>
          <a:ln w="19050">
            <a:solidFill>
              <a:schemeClr val="tx2"/>
            </a:solidFill>
            <a:round/>
            <a:headEnd/>
            <a:tailEnd/>
          </a:ln>
          <a:effectLst/>
        </p:spPr>
        <p:txBody>
          <a:bodyPr wrap="none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1800" noProof="0" dirty="0">
              <a:solidFill>
                <a:schemeClr val="bg1"/>
              </a:solidFill>
            </a:endParaRP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A7E05A20-B63F-4056-AEB2-E204776449C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0DEA52-5ACD-455D-A5D0-FA719880D0C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9649782F-FB67-472E-B457-A8D4FC3228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431309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6F3A292-C881-474B-A687-ABCC040757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6F3A292-C881-474B-A687-ABCC040757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A2074E3-3922-4520-AAA0-FC02C5DB228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1" y="1137919"/>
            <a:ext cx="4038600" cy="4834800"/>
          </a:xfr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600">
                <a:solidFill>
                  <a:schemeClr val="bg1"/>
                </a:solidFill>
              </a:defRPr>
            </a:lvl4pPr>
            <a:lvl5pPr>
              <a:defRPr sz="12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0AD8D47-C5CC-46B5-80A6-DC3E17F40E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13D75D-FE2A-4AE4-84E8-26A2D7A851BF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B2D722-DDE7-4179-BC15-25906CAE0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4756507-1FEF-43F0-A228-A0F4A38D3C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01" y="6516456"/>
            <a:ext cx="663066" cy="180000"/>
          </a:xfrm>
          <a:prstGeom prst="rect">
            <a:avLst/>
          </a:prstGeom>
        </p:spPr>
        <p:txBody>
          <a:bodyPr/>
          <a:lstStyle/>
          <a:p>
            <a:r>
              <a:rPr lang="en-GB"/>
              <a:t>Page </a:t>
            </a:r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A1A5024-AE57-48A9-8B30-4A4E4A571E69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83A6C2F-A0AD-48F8-9C28-294782067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4446198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45DDDD85-39ED-4B97-8272-C9EA2BDAC6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45DDDD85-39ED-4B97-8272-C9EA2BDAC6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178E750-F596-44C8-8B75-68D6FC5046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9247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7304" y="1869447"/>
            <a:ext cx="4042800" cy="4256075"/>
          </a:xfrm>
        </p:spPr>
        <p:txBody>
          <a:bodyPr/>
          <a:lstStyle>
            <a:lvl1pPr>
              <a:defRPr sz="1499">
                <a:solidFill>
                  <a:schemeClr val="bg1"/>
                </a:solidFill>
              </a:defRPr>
            </a:lvl1pPr>
            <a:lvl2pPr>
              <a:defRPr sz="1349">
                <a:solidFill>
                  <a:schemeClr val="bg1"/>
                </a:solidFill>
              </a:defRPr>
            </a:lvl2pPr>
            <a:lvl3pPr>
              <a:defRPr sz="1199">
                <a:solidFill>
                  <a:schemeClr val="bg1"/>
                </a:solidFill>
              </a:defRPr>
            </a:lvl3pPr>
            <a:lvl4pPr>
              <a:defRPr sz="1049">
                <a:solidFill>
                  <a:schemeClr val="bg1"/>
                </a:solidFill>
              </a:defRPr>
            </a:lvl4pPr>
            <a:lvl5pPr>
              <a:defRPr sz="900">
                <a:solidFill>
                  <a:schemeClr val="bg1"/>
                </a:solidFill>
              </a:defRPr>
            </a:lvl5pPr>
            <a:lvl6pPr>
              <a:defRPr sz="1349"/>
            </a:lvl6pPr>
            <a:lvl7pPr>
              <a:defRPr sz="1349"/>
            </a:lvl7pPr>
            <a:lvl8pPr>
              <a:defRPr sz="1349"/>
            </a:lvl8pPr>
            <a:lvl9pPr>
              <a:defRPr sz="1349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57201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4647304" y="1137920"/>
            <a:ext cx="4042800" cy="640800"/>
          </a:xfrm>
        </p:spPr>
        <p:txBody>
          <a:bodyPr anchor="t" anchorCtr="0"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9CF6F0C-8419-4816-9E6B-8941D50C588C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732F33D8-1A24-4E39-86C5-F6B07A9A5EB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37EFC1-5CA0-4BFB-8363-27F8F3D2336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56F40CD0-3515-4D66-ABC1-132FE7E67C04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264C692-6E4F-4F99-8185-5285F1F341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3710985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27E8263-DCF1-4C67-90D8-C34A99A7A0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A8D4BB7-1E72-4EB8-993C-631EDB973C7A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E39A50-9EF9-4531-9496-997ED3A26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/>
              <a:t>Presentation title</a:t>
            </a:r>
            <a:endParaRPr lang="en-IN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176E2498-83AA-4630-BD11-5C711ECAA1F7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943F7C68-5C91-4584-B3E1-AC9D49FA12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04285342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cused da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5CA287C-1B1C-48E4-A41F-63B310387C5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9675EF-0993-4A75-8666-036CDF261987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FA876A3-22CA-4258-8697-755EB013E6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IN" dirty="0"/>
              <a:t>Presentation tit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42E5A910-8397-44BA-B75C-41D673436B3A}"/>
              </a:ext>
            </a:extLst>
          </p:cNvPr>
          <p:cNvSpPr txBox="1">
            <a:spLocks/>
          </p:cNvSpPr>
          <p:nvPr userDrawn="1"/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CL" sz="800"/>
              <a:t>P</a:t>
            </a:r>
          </a:p>
          <a:p>
            <a:fld id="{F1BC30E3-FFE5-4B91-AA19-87A149EBB9EE}" type="slidenum">
              <a:rPr sz="800" smtClean="0"/>
              <a:pPr/>
              <a:t>‹Nº›</a:t>
            </a:fld>
            <a:endParaRPr sz="8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8A40D16-091D-476F-A5D7-3E7B6A82DB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364906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2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26" Type="http://schemas.openxmlformats.org/officeDocument/2006/relationships/slideLayout" Target="../slideLayouts/slideLayout62.xml"/><Relationship Id="rId39" Type="http://schemas.openxmlformats.org/officeDocument/2006/relationships/slideLayout" Target="../slideLayouts/slideLayout75.xml"/><Relationship Id="rId21" Type="http://schemas.openxmlformats.org/officeDocument/2006/relationships/slideLayout" Target="../slideLayouts/slideLayout57.xml"/><Relationship Id="rId34" Type="http://schemas.openxmlformats.org/officeDocument/2006/relationships/slideLayout" Target="../slideLayouts/slideLayout70.xml"/><Relationship Id="rId42" Type="http://schemas.openxmlformats.org/officeDocument/2006/relationships/tags" Target="../tags/tag35.xml"/><Relationship Id="rId7" Type="http://schemas.openxmlformats.org/officeDocument/2006/relationships/slideLayout" Target="../slideLayouts/slideLayout4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5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24" Type="http://schemas.openxmlformats.org/officeDocument/2006/relationships/slideLayout" Target="../slideLayouts/slideLayout60.xml"/><Relationship Id="rId32" Type="http://schemas.openxmlformats.org/officeDocument/2006/relationships/slideLayout" Target="../slideLayouts/slideLayout68.xml"/><Relationship Id="rId37" Type="http://schemas.openxmlformats.org/officeDocument/2006/relationships/slideLayout" Target="../slideLayouts/slideLayout73.xml"/><Relationship Id="rId40" Type="http://schemas.openxmlformats.org/officeDocument/2006/relationships/theme" Target="../theme/theme2.xml"/><Relationship Id="rId45" Type="http://schemas.openxmlformats.org/officeDocument/2006/relationships/image" Target="../media/image1.emf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slideLayout" Target="../slideLayouts/slideLayout59.xml"/><Relationship Id="rId28" Type="http://schemas.openxmlformats.org/officeDocument/2006/relationships/slideLayout" Target="../slideLayouts/slideLayout64.xml"/><Relationship Id="rId36" Type="http://schemas.openxmlformats.org/officeDocument/2006/relationships/slideLayout" Target="../slideLayouts/slideLayout7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31" Type="http://schemas.openxmlformats.org/officeDocument/2006/relationships/slideLayout" Target="../slideLayouts/slideLayout67.xml"/><Relationship Id="rId44" Type="http://schemas.openxmlformats.org/officeDocument/2006/relationships/oleObject" Target="../embeddings/oleObject18.bin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Relationship Id="rId27" Type="http://schemas.openxmlformats.org/officeDocument/2006/relationships/slideLayout" Target="../slideLayouts/slideLayout63.xml"/><Relationship Id="rId30" Type="http://schemas.openxmlformats.org/officeDocument/2006/relationships/slideLayout" Target="../slideLayouts/slideLayout66.xml"/><Relationship Id="rId35" Type="http://schemas.openxmlformats.org/officeDocument/2006/relationships/slideLayout" Target="../slideLayouts/slideLayout71.xml"/><Relationship Id="rId43" Type="http://schemas.openxmlformats.org/officeDocument/2006/relationships/tags" Target="../tags/tag36.xml"/><Relationship Id="rId8" Type="http://schemas.openxmlformats.org/officeDocument/2006/relationships/slideLayout" Target="../slideLayouts/slideLayout44.xml"/><Relationship Id="rId3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5" Type="http://schemas.openxmlformats.org/officeDocument/2006/relationships/slideLayout" Target="../slideLayouts/slideLayout61.xml"/><Relationship Id="rId33" Type="http://schemas.openxmlformats.org/officeDocument/2006/relationships/slideLayout" Target="../slideLayouts/slideLayout69.xml"/><Relationship Id="rId38" Type="http://schemas.openxmlformats.org/officeDocument/2006/relationships/slideLayout" Target="../slideLayouts/slideLayout74.xml"/><Relationship Id="rId46" Type="http://schemas.openxmlformats.org/officeDocument/2006/relationships/image" Target="../media/image11.wmf"/><Relationship Id="rId20" Type="http://schemas.openxmlformats.org/officeDocument/2006/relationships/slideLayout" Target="../slideLayouts/slideLayout56.xml"/><Relationship Id="rId41" Type="http://schemas.openxmlformats.org/officeDocument/2006/relationships/vmlDrawing" Target="../drawings/vmlDrawing18.v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.xml"/><Relationship Id="rId18" Type="http://schemas.openxmlformats.org/officeDocument/2006/relationships/slideLayout" Target="../slideLayouts/slideLayout93.xml"/><Relationship Id="rId26" Type="http://schemas.openxmlformats.org/officeDocument/2006/relationships/slideLayout" Target="../slideLayouts/slideLayout101.xml"/><Relationship Id="rId39" Type="http://schemas.openxmlformats.org/officeDocument/2006/relationships/slideLayout" Target="../slideLayouts/slideLayout114.xml"/><Relationship Id="rId21" Type="http://schemas.openxmlformats.org/officeDocument/2006/relationships/slideLayout" Target="../slideLayouts/slideLayout96.xml"/><Relationship Id="rId34" Type="http://schemas.openxmlformats.org/officeDocument/2006/relationships/slideLayout" Target="../slideLayouts/slideLayout109.xml"/><Relationship Id="rId42" Type="http://schemas.openxmlformats.org/officeDocument/2006/relationships/theme" Target="../theme/theme3.xml"/><Relationship Id="rId47" Type="http://schemas.openxmlformats.org/officeDocument/2006/relationships/image" Target="../media/image1.emf"/><Relationship Id="rId7" Type="http://schemas.openxmlformats.org/officeDocument/2006/relationships/slideLayout" Target="../slideLayouts/slideLayout82.xml"/><Relationship Id="rId2" Type="http://schemas.openxmlformats.org/officeDocument/2006/relationships/slideLayout" Target="../slideLayouts/slideLayout77.xml"/><Relationship Id="rId16" Type="http://schemas.openxmlformats.org/officeDocument/2006/relationships/slideLayout" Target="../slideLayouts/slideLayout91.xml"/><Relationship Id="rId29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slideLayout" Target="../slideLayouts/slideLayout86.xml"/><Relationship Id="rId24" Type="http://schemas.openxmlformats.org/officeDocument/2006/relationships/slideLayout" Target="../slideLayouts/slideLayout99.xml"/><Relationship Id="rId32" Type="http://schemas.openxmlformats.org/officeDocument/2006/relationships/slideLayout" Target="../slideLayouts/slideLayout107.xml"/><Relationship Id="rId37" Type="http://schemas.openxmlformats.org/officeDocument/2006/relationships/slideLayout" Target="../slideLayouts/slideLayout112.xml"/><Relationship Id="rId40" Type="http://schemas.openxmlformats.org/officeDocument/2006/relationships/slideLayout" Target="../slideLayouts/slideLayout115.xml"/><Relationship Id="rId45" Type="http://schemas.openxmlformats.org/officeDocument/2006/relationships/tags" Target="../tags/tag69.xml"/><Relationship Id="rId5" Type="http://schemas.openxmlformats.org/officeDocument/2006/relationships/slideLayout" Target="../slideLayouts/slideLayout80.xml"/><Relationship Id="rId15" Type="http://schemas.openxmlformats.org/officeDocument/2006/relationships/slideLayout" Target="../slideLayouts/slideLayout90.xml"/><Relationship Id="rId23" Type="http://schemas.openxmlformats.org/officeDocument/2006/relationships/slideLayout" Target="../slideLayouts/slideLayout98.xml"/><Relationship Id="rId28" Type="http://schemas.openxmlformats.org/officeDocument/2006/relationships/slideLayout" Target="../slideLayouts/slideLayout103.xml"/><Relationship Id="rId36" Type="http://schemas.openxmlformats.org/officeDocument/2006/relationships/slideLayout" Target="../slideLayouts/slideLayout111.xml"/><Relationship Id="rId10" Type="http://schemas.openxmlformats.org/officeDocument/2006/relationships/slideLayout" Target="../slideLayouts/slideLayout85.xml"/><Relationship Id="rId19" Type="http://schemas.openxmlformats.org/officeDocument/2006/relationships/slideLayout" Target="../slideLayouts/slideLayout94.xml"/><Relationship Id="rId31" Type="http://schemas.openxmlformats.org/officeDocument/2006/relationships/slideLayout" Target="../slideLayouts/slideLayout106.xml"/><Relationship Id="rId44" Type="http://schemas.openxmlformats.org/officeDocument/2006/relationships/tags" Target="../tags/tag68.xml"/><Relationship Id="rId4" Type="http://schemas.openxmlformats.org/officeDocument/2006/relationships/slideLayout" Target="../slideLayouts/slideLayout79.xml"/><Relationship Id="rId9" Type="http://schemas.openxmlformats.org/officeDocument/2006/relationships/slideLayout" Target="../slideLayouts/slideLayout84.xml"/><Relationship Id="rId14" Type="http://schemas.openxmlformats.org/officeDocument/2006/relationships/slideLayout" Target="../slideLayouts/slideLayout89.xml"/><Relationship Id="rId22" Type="http://schemas.openxmlformats.org/officeDocument/2006/relationships/slideLayout" Target="../slideLayouts/slideLayout97.xml"/><Relationship Id="rId27" Type="http://schemas.openxmlformats.org/officeDocument/2006/relationships/slideLayout" Target="../slideLayouts/slideLayout102.xml"/><Relationship Id="rId30" Type="http://schemas.openxmlformats.org/officeDocument/2006/relationships/slideLayout" Target="../slideLayouts/slideLayout105.xml"/><Relationship Id="rId35" Type="http://schemas.openxmlformats.org/officeDocument/2006/relationships/slideLayout" Target="../slideLayouts/slideLayout110.xml"/><Relationship Id="rId43" Type="http://schemas.openxmlformats.org/officeDocument/2006/relationships/vmlDrawing" Target="../drawings/vmlDrawing35.vml"/><Relationship Id="rId8" Type="http://schemas.openxmlformats.org/officeDocument/2006/relationships/slideLayout" Target="../slideLayouts/slideLayout83.xml"/><Relationship Id="rId3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7.xml"/><Relationship Id="rId17" Type="http://schemas.openxmlformats.org/officeDocument/2006/relationships/slideLayout" Target="../slideLayouts/slideLayout92.xml"/><Relationship Id="rId25" Type="http://schemas.openxmlformats.org/officeDocument/2006/relationships/slideLayout" Target="../slideLayouts/slideLayout100.xml"/><Relationship Id="rId33" Type="http://schemas.openxmlformats.org/officeDocument/2006/relationships/slideLayout" Target="../slideLayouts/slideLayout108.xml"/><Relationship Id="rId38" Type="http://schemas.openxmlformats.org/officeDocument/2006/relationships/slideLayout" Target="../slideLayouts/slideLayout113.xml"/><Relationship Id="rId46" Type="http://schemas.openxmlformats.org/officeDocument/2006/relationships/oleObject" Target="../embeddings/oleObject18.bin"/><Relationship Id="rId20" Type="http://schemas.openxmlformats.org/officeDocument/2006/relationships/slideLayout" Target="../slideLayouts/slideLayout95.xml"/><Relationship Id="rId41" Type="http://schemas.openxmlformats.org/officeDocument/2006/relationships/slideLayout" Target="../slideLayouts/slideLayout1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7AECD80-4002-471A-98FF-0954377B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" name="think-cell Slide" r:id="rId41" imgW="473" imgH="476" progId="TCLayout.ActiveDocument.1">
                  <p:embed/>
                </p:oleObj>
              </mc:Choice>
              <mc:Fallback>
                <p:oleObj name="think-cell Slide" r:id="rId41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7AECD80-4002-471A-98FF-0954377B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23E56C-3947-450B-84D9-D9603BB359D7}"/>
              </a:ext>
            </a:extLst>
          </p:cNvPr>
          <p:cNvSpPr/>
          <p:nvPr userDrawn="1">
            <p:custDataLst>
              <p:tags r:id="rId40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71CF56-CEE6-4330-9A9C-E753F8B6EB9E}"/>
              </a:ext>
            </a:extLst>
          </p:cNvPr>
          <p:cNvSpPr/>
          <p:nvPr userDrawn="1"/>
        </p:nvSpPr>
        <p:spPr>
          <a:xfrm>
            <a:off x="8688724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6BFA7E-DBFF-429F-A5F6-A55CADBD09B6}"/>
              </a:ext>
            </a:extLst>
          </p:cNvPr>
          <p:cNvSpPr/>
          <p:nvPr userDrawn="1"/>
        </p:nvSpPr>
        <p:spPr>
          <a:xfrm>
            <a:off x="2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4F37D3-AF65-4B5C-AFB1-C52B04F6E348}"/>
              </a:ext>
            </a:extLst>
          </p:cNvPr>
          <p:cNvSpPr/>
          <p:nvPr userDrawn="1"/>
        </p:nvSpPr>
        <p:spPr>
          <a:xfrm>
            <a:off x="457203" y="0"/>
            <a:ext cx="8229767" cy="88508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53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39" y="161837"/>
            <a:ext cx="370199" cy="5521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BB8231F0-3B52-46BE-9F1F-CD1AA9613C52}" type="datetime3">
              <a:rPr lang="en-US" smtClean="0"/>
              <a:pPr/>
              <a:t>1 April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1" y="3176"/>
            <a:ext cx="7412180" cy="219236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marL="0" algn="l" defTabSz="914377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s-CL" dirty="0"/>
              <a:t>P</a:t>
            </a:r>
          </a:p>
          <a:p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8112119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96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3695" r:id="rId36"/>
  </p:sldLayoutIdLst>
  <p:hf hdr="0"/>
  <p:txStyles>
    <p:titleStyle>
      <a:lvl1pPr algn="l" defTabSz="685418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rgbClr val="FFE600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2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25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39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51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64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897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06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14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23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18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25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3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4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51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6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6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7AECD80-4002-471A-98FF-0954377B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2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8" name="think-cell Slide" r:id="rId44" imgW="473" imgH="476" progId="TCLayout.ActiveDocument.1">
                  <p:embed/>
                </p:oleObj>
              </mc:Choice>
              <mc:Fallback>
                <p:oleObj name="think-cell Slide" r:id="rId44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7AECD80-4002-471A-98FF-0954377B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5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23E56C-3947-450B-84D9-D9603BB359D7}"/>
              </a:ext>
            </a:extLst>
          </p:cNvPr>
          <p:cNvSpPr/>
          <p:nvPr userDrawn="1">
            <p:custDataLst>
              <p:tags r:id="rId43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71CF56-CEE6-4330-9A9C-E753F8B6EB9E}"/>
              </a:ext>
            </a:extLst>
          </p:cNvPr>
          <p:cNvSpPr/>
          <p:nvPr userDrawn="1"/>
        </p:nvSpPr>
        <p:spPr>
          <a:xfrm>
            <a:off x="8688724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6BFA7E-DBFF-429F-A5F6-A55CADBD09B6}"/>
              </a:ext>
            </a:extLst>
          </p:cNvPr>
          <p:cNvSpPr/>
          <p:nvPr userDrawn="1"/>
        </p:nvSpPr>
        <p:spPr>
          <a:xfrm>
            <a:off x="2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4F37D3-AF65-4B5C-AFB1-C52B04F6E348}"/>
              </a:ext>
            </a:extLst>
          </p:cNvPr>
          <p:cNvSpPr/>
          <p:nvPr userDrawn="1"/>
        </p:nvSpPr>
        <p:spPr>
          <a:xfrm>
            <a:off x="457203" y="0"/>
            <a:ext cx="8229767" cy="88508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53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39" y="161837"/>
            <a:ext cx="370199" cy="5521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BB8231F0-3B52-46BE-9F1F-CD1AA9613C52}" type="datetime3">
              <a:rPr lang="en-US" smtClean="0"/>
              <a:pPr/>
              <a:t>1 April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1" y="3176"/>
            <a:ext cx="7412180" cy="219236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marL="0" algn="l" defTabSz="914377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s-CL" dirty="0"/>
              <a:t>P</a:t>
            </a:r>
          </a:p>
          <a:p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63A56E9B-FDEB-4900-88BD-F0B34334DB41}"/>
              </a:ext>
            </a:extLst>
          </p:cNvPr>
          <p:cNvPicPr>
            <a:picLocks noChangeAspect="1"/>
          </p:cNvPicPr>
          <p:nvPr userDrawn="1"/>
        </p:nvPicPr>
        <p:blipFill>
          <a:blip r:embed="rId4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9737" y="222412"/>
            <a:ext cx="402504" cy="411480"/>
          </a:xfrm>
          <a:prstGeom prst="rect">
            <a:avLst/>
          </a:prstGeom>
        </p:spPr>
      </p:pic>
      <p:grpSp>
        <p:nvGrpSpPr>
          <p:cNvPr id="14" name="Gráfico 8">
            <a:extLst>
              <a:ext uri="{FF2B5EF4-FFF2-40B4-BE49-F238E27FC236}">
                <a16:creationId xmlns:a16="http://schemas.microsoft.com/office/drawing/2014/main" id="{F0132AF7-2985-4037-B8C2-A135AB160413}"/>
              </a:ext>
            </a:extLst>
          </p:cNvPr>
          <p:cNvGrpSpPr/>
          <p:nvPr userDrawn="1"/>
        </p:nvGrpSpPr>
        <p:grpSpPr>
          <a:xfrm>
            <a:off x="7484007" y="6566410"/>
            <a:ext cx="1351719" cy="288414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A308B8E1-2D3F-47C4-BDF5-A1E3CDA3DBFB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D3C2E237-CA91-4127-9CC2-744BFD2D789F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8" name="Gráfico 8">
              <a:extLst>
                <a:ext uri="{FF2B5EF4-FFF2-40B4-BE49-F238E27FC236}">
                  <a16:creationId xmlns:a16="http://schemas.microsoft.com/office/drawing/2014/main" id="{B90A5DE9-DA0E-4BF7-9909-3EE38384407F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7EF46896-131B-4C07-BBE5-8994917DA01E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31F32FBB-295E-4750-924A-9D7EB71CEA12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E04DFEFD-BD97-4F92-9BB2-C832347D1D6B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2" name="Forma libre: forma 21">
                <a:extLst>
                  <a:ext uri="{FF2B5EF4-FFF2-40B4-BE49-F238E27FC236}">
                    <a16:creationId xmlns:a16="http://schemas.microsoft.com/office/drawing/2014/main" id="{6DDC343D-9F23-4118-88FB-2C0298C88814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F063B0BC-CB3B-45DE-A303-0F5DC16FC6E2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4" name="Forma libre: forma 23">
                <a:extLst>
                  <a:ext uri="{FF2B5EF4-FFF2-40B4-BE49-F238E27FC236}">
                    <a16:creationId xmlns:a16="http://schemas.microsoft.com/office/drawing/2014/main" id="{1ACE7079-7B0F-4CE0-BC86-C3D7E291E9F7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5" name="Forma libre: forma 24">
                <a:extLst>
                  <a:ext uri="{FF2B5EF4-FFF2-40B4-BE49-F238E27FC236}">
                    <a16:creationId xmlns:a16="http://schemas.microsoft.com/office/drawing/2014/main" id="{7587EFA1-16AB-4146-8519-1F96FADAD605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560216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  <p:sldLayoutId id="2147483721" r:id="rId24"/>
    <p:sldLayoutId id="2147483722" r:id="rId25"/>
    <p:sldLayoutId id="2147483723" r:id="rId26"/>
    <p:sldLayoutId id="2147483724" r:id="rId27"/>
    <p:sldLayoutId id="2147483725" r:id="rId28"/>
    <p:sldLayoutId id="2147483726" r:id="rId29"/>
    <p:sldLayoutId id="2147483727" r:id="rId30"/>
    <p:sldLayoutId id="2147483728" r:id="rId31"/>
    <p:sldLayoutId id="2147483729" r:id="rId32"/>
    <p:sldLayoutId id="2147483730" r:id="rId33"/>
    <p:sldLayoutId id="2147483731" r:id="rId34"/>
    <p:sldLayoutId id="2147483732" r:id="rId35"/>
    <p:sldLayoutId id="2147483733" r:id="rId36"/>
    <p:sldLayoutId id="2147483735" r:id="rId37"/>
    <p:sldLayoutId id="2147483736" r:id="rId38"/>
    <p:sldLayoutId id="2147483737" r:id="rId39"/>
  </p:sldLayoutIdLst>
  <p:hf hdr="0"/>
  <p:txStyles>
    <p:titleStyle>
      <a:lvl1pPr algn="l" defTabSz="685418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rgbClr val="FFE600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2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25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39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51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64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897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06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14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23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18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25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3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4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51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6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6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47AECD80-4002-471A-98FF-0954377BE1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4"/>
            </p:custDataLst>
          </p:nvPr>
        </p:nvGraphicFramePr>
        <p:xfrm>
          <a:off x="1590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6" name="think-cell Slide" r:id="rId46" imgW="473" imgH="476" progId="TCLayout.ActiveDocument.1">
                  <p:embed/>
                </p:oleObj>
              </mc:Choice>
              <mc:Fallback>
                <p:oleObj name="think-cell Slide" r:id="rId46" imgW="473" imgH="47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47AECD80-4002-471A-98FF-0954377BE1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7"/>
                      <a:stretch>
                        <a:fillRect/>
                      </a:stretch>
                    </p:blipFill>
                    <p:spPr>
                      <a:xfrm>
                        <a:off x="1590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23E56C-3947-450B-84D9-D9603BB359D7}"/>
              </a:ext>
            </a:extLst>
          </p:cNvPr>
          <p:cNvSpPr/>
          <p:nvPr userDrawn="1">
            <p:custDataLst>
              <p:tags r:id="rId45"/>
            </p:custDataLst>
          </p:nvPr>
        </p:nvSpPr>
        <p:spPr>
          <a:xfrm>
            <a:off x="1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6671CF56-CEE6-4330-9A9C-E753F8B6EB9E}"/>
              </a:ext>
            </a:extLst>
          </p:cNvPr>
          <p:cNvSpPr/>
          <p:nvPr userDrawn="1"/>
        </p:nvSpPr>
        <p:spPr>
          <a:xfrm>
            <a:off x="8688724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46BFA7E-DBFF-429F-A5F6-A55CADBD09B6}"/>
              </a:ext>
            </a:extLst>
          </p:cNvPr>
          <p:cNvSpPr/>
          <p:nvPr userDrawn="1"/>
        </p:nvSpPr>
        <p:spPr>
          <a:xfrm>
            <a:off x="2" y="0"/>
            <a:ext cx="457201" cy="885080"/>
          </a:xfrm>
          <a:prstGeom prst="rect">
            <a:avLst/>
          </a:prstGeom>
          <a:solidFill>
            <a:srgbClr val="20202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34F37D3-AF65-4B5C-AFB1-C52B04F6E348}"/>
              </a:ext>
            </a:extLst>
          </p:cNvPr>
          <p:cNvSpPr/>
          <p:nvPr userDrawn="1"/>
        </p:nvSpPr>
        <p:spPr>
          <a:xfrm>
            <a:off x="457203" y="0"/>
            <a:ext cx="8229767" cy="885080"/>
          </a:xfrm>
          <a:prstGeom prst="rect">
            <a:avLst/>
          </a:prstGeom>
          <a:solidFill>
            <a:srgbClr val="0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2" y="222412"/>
            <a:ext cx="7412181" cy="662668"/>
          </a:xfrm>
          <a:prstGeom prst="rect">
            <a:avLst/>
          </a:prstGeom>
        </p:spPr>
        <p:txBody>
          <a:bodyPr vert="horz" lIns="180000" tIns="0" rIns="180000" bIns="0" rtlCol="0" anchor="ctr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137920"/>
            <a:ext cx="8229600" cy="533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E69E1F1-58AD-46F1-B809-9D59D36060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5439" y="161837"/>
            <a:ext cx="370199" cy="5521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fld id="{BB8231F0-3B52-46BE-9F1F-CD1AA9613C52}" type="datetime3">
              <a:rPr lang="en-US" smtClean="0"/>
              <a:pPr/>
              <a:t>1 April 20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6E0BE3A-850C-4403-A5AC-24F2FB2AC93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1" y="3176"/>
            <a:ext cx="7412180" cy="219236"/>
          </a:xfrm>
          <a:prstGeom prst="rect">
            <a:avLst/>
          </a:prstGeom>
        </p:spPr>
        <p:txBody>
          <a:bodyPr vert="horz" lIns="180000" tIns="0" rIns="180000" bIns="0" rtlCol="0" anchor="ctr"/>
          <a:lstStyle>
            <a:lvl1pPr marL="0" algn="l" defTabSz="914377" rtl="0" eaLnBrk="1" latinLnBrk="0" hangingPunct="1">
              <a:defRPr lang="en-IN" sz="800" kern="1200" dirty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B1FFE43-22D2-44DE-9910-040934A9AD6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5726" y="281911"/>
            <a:ext cx="146806" cy="32768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marL="0" algn="ctr" defTabSz="914377" rtl="0" eaLnBrk="1" latinLnBrk="0" hangingPunct="1">
              <a:defRPr lang="en-IN" sz="800" kern="1200" smtClean="0">
                <a:solidFill>
                  <a:schemeClr val="bg1"/>
                </a:solidFill>
                <a:latin typeface="EYInterstate" panose="02000503020000020004" pitchFamily="2" charset="0"/>
                <a:ea typeface="+mn-ea"/>
                <a:cs typeface="+mn-cs"/>
              </a:defRPr>
            </a:lvl1pPr>
          </a:lstStyle>
          <a:p>
            <a:r>
              <a:rPr lang="es-CL" dirty="0"/>
              <a:t>P</a:t>
            </a:r>
          </a:p>
          <a:p>
            <a:fld id="{F1BC30E3-FFE5-4B91-AA19-87A149EBB9EE}" type="slidenum">
              <a:rPr smtClean="0"/>
              <a:pPr/>
              <a:t>‹Nº›</a:t>
            </a:fld>
            <a:endParaRPr dirty="0"/>
          </a:p>
        </p:txBody>
      </p:sp>
      <p:grpSp>
        <p:nvGrpSpPr>
          <p:cNvPr id="14" name="Gráfico 8">
            <a:extLst>
              <a:ext uri="{FF2B5EF4-FFF2-40B4-BE49-F238E27FC236}">
                <a16:creationId xmlns:a16="http://schemas.microsoft.com/office/drawing/2014/main" id="{3279E910-3705-4623-810F-4426D8F03674}"/>
              </a:ext>
            </a:extLst>
          </p:cNvPr>
          <p:cNvGrpSpPr/>
          <p:nvPr userDrawn="1"/>
        </p:nvGrpSpPr>
        <p:grpSpPr>
          <a:xfrm>
            <a:off x="7630813" y="6566410"/>
            <a:ext cx="1351719" cy="288414"/>
            <a:chOff x="1544235" y="5884958"/>
            <a:chExt cx="1351719" cy="288414"/>
          </a:xfrm>
          <a:solidFill>
            <a:srgbClr val="FFFFFF"/>
          </a:solidFill>
        </p:grpSpPr>
        <p:sp>
          <p:nvSpPr>
            <p:cNvPr id="15" name="Forma libre: forma 14">
              <a:extLst>
                <a:ext uri="{FF2B5EF4-FFF2-40B4-BE49-F238E27FC236}">
                  <a16:creationId xmlns:a16="http://schemas.microsoft.com/office/drawing/2014/main" id="{C7080AF1-9D84-428F-91F4-CCFB9CC4B29D}"/>
                </a:ext>
              </a:extLst>
            </p:cNvPr>
            <p:cNvSpPr/>
            <p:nvPr/>
          </p:nvSpPr>
          <p:spPr>
            <a:xfrm>
              <a:off x="1544235" y="5884958"/>
              <a:ext cx="1351719" cy="227422"/>
            </a:xfrm>
            <a:custGeom>
              <a:avLst/>
              <a:gdLst>
                <a:gd name="connsiteX0" fmla="*/ 0 w 1351719"/>
                <a:gd name="connsiteY0" fmla="*/ 0 h 227422"/>
                <a:gd name="connsiteX1" fmla="*/ 0 w 1351719"/>
                <a:gd name="connsiteY1" fmla="*/ 227422 h 227422"/>
                <a:gd name="connsiteX2" fmla="*/ 26288 w 1351719"/>
                <a:gd name="connsiteY2" fmla="*/ 227422 h 227422"/>
                <a:gd name="connsiteX3" fmla="*/ 26288 w 1351719"/>
                <a:gd name="connsiteY3" fmla="*/ 125814 h 227422"/>
                <a:gd name="connsiteX4" fmla="*/ 114005 w 1351719"/>
                <a:gd name="connsiteY4" fmla="*/ 125814 h 227422"/>
                <a:gd name="connsiteX5" fmla="*/ 114005 w 1351719"/>
                <a:gd name="connsiteY5" fmla="*/ 101745 h 227422"/>
                <a:gd name="connsiteX6" fmla="*/ 26288 w 1351719"/>
                <a:gd name="connsiteY6" fmla="*/ 101745 h 227422"/>
                <a:gd name="connsiteX7" fmla="*/ 26288 w 1351719"/>
                <a:gd name="connsiteY7" fmla="*/ 24069 h 227422"/>
                <a:gd name="connsiteX8" fmla="*/ 1351720 w 1351719"/>
                <a:gd name="connsiteY8" fmla="*/ 24069 h 227422"/>
                <a:gd name="connsiteX9" fmla="*/ 1351720 w 1351719"/>
                <a:gd name="connsiteY9" fmla="*/ 0 h 227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351719" h="227422">
                  <a:moveTo>
                    <a:pt x="0" y="0"/>
                  </a:moveTo>
                  <a:lnTo>
                    <a:pt x="0" y="227422"/>
                  </a:lnTo>
                  <a:lnTo>
                    <a:pt x="26288" y="227422"/>
                  </a:lnTo>
                  <a:lnTo>
                    <a:pt x="26288" y="125814"/>
                  </a:lnTo>
                  <a:lnTo>
                    <a:pt x="114005" y="125814"/>
                  </a:lnTo>
                  <a:lnTo>
                    <a:pt x="114005" y="101745"/>
                  </a:lnTo>
                  <a:lnTo>
                    <a:pt x="26288" y="101745"/>
                  </a:lnTo>
                  <a:lnTo>
                    <a:pt x="26288" y="24069"/>
                  </a:lnTo>
                  <a:lnTo>
                    <a:pt x="1351720" y="24069"/>
                  </a:lnTo>
                  <a:lnTo>
                    <a:pt x="135172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sp>
          <p:nvSpPr>
            <p:cNvPr id="16" name="Forma libre: forma 15">
              <a:extLst>
                <a:ext uri="{FF2B5EF4-FFF2-40B4-BE49-F238E27FC236}">
                  <a16:creationId xmlns:a16="http://schemas.microsoft.com/office/drawing/2014/main" id="{1761808F-6C45-42E2-9150-1AE0C86DD8C8}"/>
                </a:ext>
              </a:extLst>
            </p:cNvPr>
            <p:cNvSpPr/>
            <p:nvPr/>
          </p:nvSpPr>
          <p:spPr>
            <a:xfrm>
              <a:off x="1707003" y="5948959"/>
              <a:ext cx="28331" cy="163421"/>
            </a:xfrm>
            <a:custGeom>
              <a:avLst/>
              <a:gdLst>
                <a:gd name="connsiteX0" fmla="*/ 0 w 28331"/>
                <a:gd name="connsiteY0" fmla="*/ 163421 h 163421"/>
                <a:gd name="connsiteX1" fmla="*/ 28331 w 28331"/>
                <a:gd name="connsiteY1" fmla="*/ 163421 h 163421"/>
                <a:gd name="connsiteX2" fmla="*/ 28331 w 28331"/>
                <a:gd name="connsiteY2" fmla="*/ 0 h 163421"/>
                <a:gd name="connsiteX3" fmla="*/ 0 w 28331"/>
                <a:gd name="connsiteY3" fmla="*/ 0 h 163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8331" h="163421">
                  <a:moveTo>
                    <a:pt x="0" y="163421"/>
                  </a:moveTo>
                  <a:lnTo>
                    <a:pt x="28331" y="163421"/>
                  </a:lnTo>
                  <a:lnTo>
                    <a:pt x="28331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 w="13613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s-CL"/>
            </a:p>
          </p:txBody>
        </p:sp>
        <p:grpSp>
          <p:nvGrpSpPr>
            <p:cNvPr id="17" name="Gráfico 8">
              <a:extLst>
                <a:ext uri="{FF2B5EF4-FFF2-40B4-BE49-F238E27FC236}">
                  <a16:creationId xmlns:a16="http://schemas.microsoft.com/office/drawing/2014/main" id="{DC78404C-6E37-47D6-9014-52932B7832D6}"/>
                </a:ext>
              </a:extLst>
            </p:cNvPr>
            <p:cNvGrpSpPr/>
            <p:nvPr/>
          </p:nvGrpSpPr>
          <p:grpSpPr>
            <a:xfrm>
              <a:off x="1789680" y="5945404"/>
              <a:ext cx="1105593" cy="227968"/>
              <a:chOff x="1789680" y="5945404"/>
              <a:chExt cx="1105593" cy="227968"/>
            </a:xfrm>
            <a:solidFill>
              <a:srgbClr val="FFFFFF"/>
            </a:solidFill>
          </p:grpSpPr>
          <p:sp>
            <p:nvSpPr>
              <p:cNvPr id="18" name="Forma libre: forma 17">
                <a:extLst>
                  <a:ext uri="{FF2B5EF4-FFF2-40B4-BE49-F238E27FC236}">
                    <a16:creationId xmlns:a16="http://schemas.microsoft.com/office/drawing/2014/main" id="{3701AE59-1617-4CCF-9124-E566E87422AF}"/>
                  </a:ext>
                </a:extLst>
              </p:cNvPr>
              <p:cNvSpPr/>
              <p:nvPr/>
            </p:nvSpPr>
            <p:spPr>
              <a:xfrm>
                <a:off x="1789680" y="5945540"/>
                <a:ext cx="126672" cy="163968"/>
              </a:xfrm>
              <a:custGeom>
                <a:avLst/>
                <a:gdLst>
                  <a:gd name="connsiteX0" fmla="*/ 101202 w 126672"/>
                  <a:gd name="connsiteY0" fmla="*/ 163832 h 163968"/>
                  <a:gd name="connsiteX1" fmla="*/ 101202 w 126672"/>
                  <a:gd name="connsiteY1" fmla="*/ 72616 h 163968"/>
                  <a:gd name="connsiteX2" fmla="*/ 94119 w 126672"/>
                  <a:gd name="connsiteY2" fmla="*/ 35009 h 163968"/>
                  <a:gd name="connsiteX3" fmla="*/ 68104 w 126672"/>
                  <a:gd name="connsiteY3" fmla="*/ 22291 h 163968"/>
                  <a:gd name="connsiteX4" fmla="*/ 40453 w 126672"/>
                  <a:gd name="connsiteY4" fmla="*/ 31454 h 163968"/>
                  <a:gd name="connsiteX5" fmla="*/ 25198 w 126672"/>
                  <a:gd name="connsiteY5" fmla="*/ 54291 h 163968"/>
                  <a:gd name="connsiteX6" fmla="*/ 25198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202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202" y="163832"/>
                    </a:moveTo>
                    <a:lnTo>
                      <a:pt x="101202" y="72616"/>
                    </a:lnTo>
                    <a:cubicBezTo>
                      <a:pt x="101202" y="55932"/>
                      <a:pt x="98750" y="43488"/>
                      <a:pt x="94119" y="35009"/>
                    </a:cubicBezTo>
                    <a:cubicBezTo>
                      <a:pt x="89352" y="26530"/>
                      <a:pt x="80635" y="22291"/>
                      <a:pt x="68104" y="22291"/>
                    </a:cubicBezTo>
                    <a:cubicBezTo>
                      <a:pt x="56935" y="22291"/>
                      <a:pt x="47809" y="25300"/>
                      <a:pt x="40453" y="31454"/>
                    </a:cubicBezTo>
                    <a:cubicBezTo>
                      <a:pt x="33235" y="37471"/>
                      <a:pt x="28195" y="45129"/>
                      <a:pt x="25198" y="54291"/>
                    </a:cubicBezTo>
                    <a:lnTo>
                      <a:pt x="25198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719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202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19" name="Forma libre: forma 18">
                <a:extLst>
                  <a:ext uri="{FF2B5EF4-FFF2-40B4-BE49-F238E27FC236}">
                    <a16:creationId xmlns:a16="http://schemas.microsoft.com/office/drawing/2014/main" id="{B0240A90-7C0B-4191-987C-918BA34D3506}"/>
                  </a:ext>
                </a:extLst>
              </p:cNvPr>
              <p:cNvSpPr/>
              <p:nvPr/>
            </p:nvSpPr>
            <p:spPr>
              <a:xfrm>
                <a:off x="1950132" y="5946771"/>
                <a:ext cx="123539" cy="165199"/>
              </a:xfrm>
              <a:custGeom>
                <a:avLst/>
                <a:gdLst>
                  <a:gd name="connsiteX0" fmla="*/ 54347 w 123539"/>
                  <a:gd name="connsiteY0" fmla="*/ 142771 h 165199"/>
                  <a:gd name="connsiteX1" fmla="*/ 70147 w 123539"/>
                  <a:gd name="connsiteY1" fmla="*/ 140310 h 165199"/>
                  <a:gd name="connsiteX2" fmla="*/ 82133 w 123539"/>
                  <a:gd name="connsiteY2" fmla="*/ 134293 h 165199"/>
                  <a:gd name="connsiteX3" fmla="*/ 90442 w 123539"/>
                  <a:gd name="connsiteY3" fmla="*/ 126087 h 165199"/>
                  <a:gd name="connsiteX4" fmla="*/ 95345 w 123539"/>
                  <a:gd name="connsiteY4" fmla="*/ 117472 h 165199"/>
                  <a:gd name="connsiteX5" fmla="*/ 95345 w 123539"/>
                  <a:gd name="connsiteY5" fmla="*/ 90805 h 165199"/>
                  <a:gd name="connsiteX6" fmla="*/ 86355 w 123539"/>
                  <a:gd name="connsiteY6" fmla="*/ 90395 h 165199"/>
                  <a:gd name="connsiteX7" fmla="*/ 77366 w 123539"/>
                  <a:gd name="connsiteY7" fmla="*/ 90258 h 165199"/>
                  <a:gd name="connsiteX8" fmla="*/ 58297 w 123539"/>
                  <a:gd name="connsiteY8" fmla="*/ 91352 h 165199"/>
                  <a:gd name="connsiteX9" fmla="*/ 41816 w 123539"/>
                  <a:gd name="connsiteY9" fmla="*/ 95455 h 165199"/>
                  <a:gd name="connsiteX10" fmla="*/ 30510 w 123539"/>
                  <a:gd name="connsiteY10" fmla="*/ 103797 h 165199"/>
                  <a:gd name="connsiteX11" fmla="*/ 26288 w 123539"/>
                  <a:gd name="connsiteY11" fmla="*/ 117061 h 165199"/>
                  <a:gd name="connsiteX12" fmla="*/ 34188 w 123539"/>
                  <a:gd name="connsiteY12" fmla="*/ 135523 h 165199"/>
                  <a:gd name="connsiteX13" fmla="*/ 54347 w 123539"/>
                  <a:gd name="connsiteY13" fmla="*/ 142771 h 165199"/>
                  <a:gd name="connsiteX14" fmla="*/ 54347 w 123539"/>
                  <a:gd name="connsiteY14" fmla="*/ 142771 h 165199"/>
                  <a:gd name="connsiteX15" fmla="*/ 9535 w 123539"/>
                  <a:gd name="connsiteY15" fmla="*/ 14359 h 165199"/>
                  <a:gd name="connsiteX16" fmla="*/ 37457 w 123539"/>
                  <a:gd name="connsiteY16" fmla="*/ 3419 h 165199"/>
                  <a:gd name="connsiteX17" fmla="*/ 70828 w 123539"/>
                  <a:gd name="connsiteY17" fmla="*/ 0 h 165199"/>
                  <a:gd name="connsiteX18" fmla="*/ 97252 w 123539"/>
                  <a:gd name="connsiteY18" fmla="*/ 4513 h 165199"/>
                  <a:gd name="connsiteX19" fmla="*/ 112371 w 123539"/>
                  <a:gd name="connsiteY19" fmla="*/ 16137 h 165199"/>
                  <a:gd name="connsiteX20" fmla="*/ 119318 w 123539"/>
                  <a:gd name="connsiteY20" fmla="*/ 32001 h 165199"/>
                  <a:gd name="connsiteX21" fmla="*/ 121088 w 123539"/>
                  <a:gd name="connsiteY21" fmla="*/ 49232 h 165199"/>
                  <a:gd name="connsiteX22" fmla="*/ 120135 w 123539"/>
                  <a:gd name="connsiteY22" fmla="*/ 86702 h 165199"/>
                  <a:gd name="connsiteX23" fmla="*/ 119181 w 123539"/>
                  <a:gd name="connsiteY23" fmla="*/ 121301 h 165199"/>
                  <a:gd name="connsiteX24" fmla="*/ 120135 w 123539"/>
                  <a:gd name="connsiteY24" fmla="*/ 143729 h 165199"/>
                  <a:gd name="connsiteX25" fmla="*/ 123540 w 123539"/>
                  <a:gd name="connsiteY25" fmla="*/ 163284 h 165199"/>
                  <a:gd name="connsiteX26" fmla="*/ 104880 w 123539"/>
                  <a:gd name="connsiteY26" fmla="*/ 163284 h 165199"/>
                  <a:gd name="connsiteX27" fmla="*/ 98205 w 123539"/>
                  <a:gd name="connsiteY27" fmla="*/ 140857 h 165199"/>
                  <a:gd name="connsiteX28" fmla="*/ 96571 w 123539"/>
                  <a:gd name="connsiteY28" fmla="*/ 140857 h 165199"/>
                  <a:gd name="connsiteX29" fmla="*/ 89488 w 123539"/>
                  <a:gd name="connsiteY29" fmla="*/ 149609 h 165199"/>
                  <a:gd name="connsiteX30" fmla="*/ 79273 w 123539"/>
                  <a:gd name="connsiteY30" fmla="*/ 157267 h 165199"/>
                  <a:gd name="connsiteX31" fmla="*/ 65379 w 123539"/>
                  <a:gd name="connsiteY31" fmla="*/ 162874 h 165199"/>
                  <a:gd name="connsiteX32" fmla="*/ 47400 w 123539"/>
                  <a:gd name="connsiteY32" fmla="*/ 165199 h 165199"/>
                  <a:gd name="connsiteX33" fmla="*/ 28604 w 123539"/>
                  <a:gd name="connsiteY33" fmla="*/ 162054 h 165199"/>
                  <a:gd name="connsiteX34" fmla="*/ 13621 w 123539"/>
                  <a:gd name="connsiteY34" fmla="*/ 152891 h 165199"/>
                  <a:gd name="connsiteX35" fmla="*/ 3678 w 123539"/>
                  <a:gd name="connsiteY35" fmla="*/ 138669 h 165199"/>
                  <a:gd name="connsiteX36" fmla="*/ 0 w 123539"/>
                  <a:gd name="connsiteY36" fmla="*/ 119797 h 165199"/>
                  <a:gd name="connsiteX37" fmla="*/ 5721 w 123539"/>
                  <a:gd name="connsiteY37" fmla="*/ 96275 h 165199"/>
                  <a:gd name="connsiteX38" fmla="*/ 21657 w 123539"/>
                  <a:gd name="connsiteY38" fmla="*/ 81232 h 165199"/>
                  <a:gd name="connsiteX39" fmla="*/ 46310 w 123539"/>
                  <a:gd name="connsiteY39" fmla="*/ 73164 h 165199"/>
                  <a:gd name="connsiteX40" fmla="*/ 78047 w 123539"/>
                  <a:gd name="connsiteY40" fmla="*/ 70702 h 165199"/>
                  <a:gd name="connsiteX41" fmla="*/ 86764 w 123539"/>
                  <a:gd name="connsiteY41" fmla="*/ 70702 h 165199"/>
                  <a:gd name="connsiteX42" fmla="*/ 95481 w 123539"/>
                  <a:gd name="connsiteY42" fmla="*/ 71249 h 165199"/>
                  <a:gd name="connsiteX43" fmla="*/ 96435 w 123539"/>
                  <a:gd name="connsiteY43" fmla="*/ 54018 h 165199"/>
                  <a:gd name="connsiteX44" fmla="*/ 89488 w 123539"/>
                  <a:gd name="connsiteY44" fmla="*/ 29402 h 165199"/>
                  <a:gd name="connsiteX45" fmla="*/ 64290 w 123539"/>
                  <a:gd name="connsiteY45" fmla="*/ 22291 h 165199"/>
                  <a:gd name="connsiteX46" fmla="*/ 52848 w 123539"/>
                  <a:gd name="connsiteY46" fmla="*/ 23111 h 165199"/>
                  <a:gd name="connsiteX47" fmla="*/ 40181 w 123539"/>
                  <a:gd name="connsiteY47" fmla="*/ 25436 h 165199"/>
                  <a:gd name="connsiteX48" fmla="*/ 27922 w 123539"/>
                  <a:gd name="connsiteY48" fmla="*/ 29129 h 165199"/>
                  <a:gd name="connsiteX49" fmla="*/ 17707 w 123539"/>
                  <a:gd name="connsiteY49" fmla="*/ 33915 h 165199"/>
                  <a:gd name="connsiteX50" fmla="*/ 9535 w 123539"/>
                  <a:gd name="connsiteY50" fmla="*/ 14359 h 16519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</a:cxnLst>
                <a:rect l="l" t="t" r="r" b="b"/>
                <a:pathLst>
                  <a:path w="123539" h="165199">
                    <a:moveTo>
                      <a:pt x="54347" y="142771"/>
                    </a:moveTo>
                    <a:cubicBezTo>
                      <a:pt x="60204" y="142771"/>
                      <a:pt x="65516" y="141951"/>
                      <a:pt x="70147" y="140310"/>
                    </a:cubicBezTo>
                    <a:cubicBezTo>
                      <a:pt x="74778" y="138669"/>
                      <a:pt x="78728" y="136618"/>
                      <a:pt x="82133" y="134293"/>
                    </a:cubicBezTo>
                    <a:cubicBezTo>
                      <a:pt x="85538" y="131831"/>
                      <a:pt x="88262" y="129096"/>
                      <a:pt x="90442" y="126087"/>
                    </a:cubicBezTo>
                    <a:cubicBezTo>
                      <a:pt x="92621" y="123079"/>
                      <a:pt x="94255" y="120207"/>
                      <a:pt x="95345" y="117472"/>
                    </a:cubicBezTo>
                    <a:lnTo>
                      <a:pt x="95345" y="90805"/>
                    </a:lnTo>
                    <a:cubicBezTo>
                      <a:pt x="92485" y="90532"/>
                      <a:pt x="89352" y="90395"/>
                      <a:pt x="86355" y="90395"/>
                    </a:cubicBezTo>
                    <a:cubicBezTo>
                      <a:pt x="83359" y="90258"/>
                      <a:pt x="80362" y="90258"/>
                      <a:pt x="77366" y="90258"/>
                    </a:cubicBezTo>
                    <a:cubicBezTo>
                      <a:pt x="70828" y="90258"/>
                      <a:pt x="64426" y="90668"/>
                      <a:pt x="58297" y="91352"/>
                    </a:cubicBezTo>
                    <a:cubicBezTo>
                      <a:pt x="52031" y="92173"/>
                      <a:pt x="46583" y="93540"/>
                      <a:pt x="41816" y="95455"/>
                    </a:cubicBezTo>
                    <a:cubicBezTo>
                      <a:pt x="37048" y="97506"/>
                      <a:pt x="33235" y="100241"/>
                      <a:pt x="30510" y="103797"/>
                    </a:cubicBezTo>
                    <a:cubicBezTo>
                      <a:pt x="27650" y="107216"/>
                      <a:pt x="26288" y="111728"/>
                      <a:pt x="26288" y="117061"/>
                    </a:cubicBezTo>
                    <a:cubicBezTo>
                      <a:pt x="26288" y="124583"/>
                      <a:pt x="28876" y="130737"/>
                      <a:pt x="34188" y="135523"/>
                    </a:cubicBezTo>
                    <a:cubicBezTo>
                      <a:pt x="39364" y="140447"/>
                      <a:pt x="46038" y="142771"/>
                      <a:pt x="54347" y="142771"/>
                    </a:cubicBezTo>
                    <a:lnTo>
                      <a:pt x="54347" y="142771"/>
                    </a:lnTo>
                    <a:close/>
                    <a:moveTo>
                      <a:pt x="9535" y="14359"/>
                    </a:moveTo>
                    <a:cubicBezTo>
                      <a:pt x="17571" y="9436"/>
                      <a:pt x="26833" y="5744"/>
                      <a:pt x="37457" y="3419"/>
                    </a:cubicBezTo>
                    <a:cubicBezTo>
                      <a:pt x="48081" y="1094"/>
                      <a:pt x="59250" y="0"/>
                      <a:pt x="70828" y="0"/>
                    </a:cubicBezTo>
                    <a:cubicBezTo>
                      <a:pt x="81724" y="0"/>
                      <a:pt x="90578" y="1505"/>
                      <a:pt x="97252" y="4513"/>
                    </a:cubicBezTo>
                    <a:cubicBezTo>
                      <a:pt x="103926" y="7522"/>
                      <a:pt x="108966" y="11351"/>
                      <a:pt x="112371" y="16137"/>
                    </a:cubicBezTo>
                    <a:cubicBezTo>
                      <a:pt x="115776" y="20923"/>
                      <a:pt x="118092" y="26257"/>
                      <a:pt x="119318" y="32001"/>
                    </a:cubicBezTo>
                    <a:cubicBezTo>
                      <a:pt x="120407" y="37744"/>
                      <a:pt x="121088" y="43488"/>
                      <a:pt x="121088" y="49232"/>
                    </a:cubicBezTo>
                    <a:cubicBezTo>
                      <a:pt x="121088" y="62086"/>
                      <a:pt x="120816" y="74531"/>
                      <a:pt x="120135" y="86702"/>
                    </a:cubicBezTo>
                    <a:cubicBezTo>
                      <a:pt x="119590" y="98873"/>
                      <a:pt x="119181" y="110361"/>
                      <a:pt x="119181" y="121301"/>
                    </a:cubicBezTo>
                    <a:cubicBezTo>
                      <a:pt x="119181" y="129233"/>
                      <a:pt x="119454" y="136618"/>
                      <a:pt x="120135" y="143729"/>
                    </a:cubicBezTo>
                    <a:cubicBezTo>
                      <a:pt x="120680" y="150840"/>
                      <a:pt x="121905" y="157267"/>
                      <a:pt x="123540" y="163284"/>
                    </a:cubicBezTo>
                    <a:lnTo>
                      <a:pt x="104880" y="163284"/>
                    </a:lnTo>
                    <a:lnTo>
                      <a:pt x="98205" y="140857"/>
                    </a:lnTo>
                    <a:lnTo>
                      <a:pt x="96571" y="140857"/>
                    </a:lnTo>
                    <a:cubicBezTo>
                      <a:pt x="94664" y="143866"/>
                      <a:pt x="92348" y="146737"/>
                      <a:pt x="89488" y="149609"/>
                    </a:cubicBezTo>
                    <a:cubicBezTo>
                      <a:pt x="86628" y="152481"/>
                      <a:pt x="83223" y="155080"/>
                      <a:pt x="79273" y="157267"/>
                    </a:cubicBezTo>
                    <a:cubicBezTo>
                      <a:pt x="75186" y="159592"/>
                      <a:pt x="70555" y="161370"/>
                      <a:pt x="65379" y="162874"/>
                    </a:cubicBezTo>
                    <a:cubicBezTo>
                      <a:pt x="60204" y="164379"/>
                      <a:pt x="54074" y="165199"/>
                      <a:pt x="47400" y="165199"/>
                    </a:cubicBezTo>
                    <a:cubicBezTo>
                      <a:pt x="40726" y="165199"/>
                      <a:pt x="34460" y="164105"/>
                      <a:pt x="28604" y="162054"/>
                    </a:cubicBezTo>
                    <a:cubicBezTo>
                      <a:pt x="22883" y="159866"/>
                      <a:pt x="17843" y="156857"/>
                      <a:pt x="13621" y="152891"/>
                    </a:cubicBezTo>
                    <a:cubicBezTo>
                      <a:pt x="9398" y="148925"/>
                      <a:pt x="6129" y="144139"/>
                      <a:pt x="3678" y="138669"/>
                    </a:cubicBezTo>
                    <a:cubicBezTo>
                      <a:pt x="1226" y="133199"/>
                      <a:pt x="0" y="126908"/>
                      <a:pt x="0" y="119797"/>
                    </a:cubicBezTo>
                    <a:cubicBezTo>
                      <a:pt x="0" y="110361"/>
                      <a:pt x="1907" y="102566"/>
                      <a:pt x="5721" y="96275"/>
                    </a:cubicBezTo>
                    <a:cubicBezTo>
                      <a:pt x="9535" y="89984"/>
                      <a:pt x="14847" y="84925"/>
                      <a:pt x="21657" y="81232"/>
                    </a:cubicBezTo>
                    <a:cubicBezTo>
                      <a:pt x="28467" y="77540"/>
                      <a:pt x="36640" y="74805"/>
                      <a:pt x="46310" y="73164"/>
                    </a:cubicBezTo>
                    <a:cubicBezTo>
                      <a:pt x="55845" y="71523"/>
                      <a:pt x="66469" y="70702"/>
                      <a:pt x="78047" y="70702"/>
                    </a:cubicBezTo>
                    <a:lnTo>
                      <a:pt x="86764" y="70702"/>
                    </a:lnTo>
                    <a:cubicBezTo>
                      <a:pt x="89624" y="70702"/>
                      <a:pt x="92485" y="70975"/>
                      <a:pt x="95481" y="71249"/>
                    </a:cubicBezTo>
                    <a:cubicBezTo>
                      <a:pt x="96026" y="64822"/>
                      <a:pt x="96435" y="59078"/>
                      <a:pt x="96435" y="54018"/>
                    </a:cubicBezTo>
                    <a:cubicBezTo>
                      <a:pt x="96435" y="42257"/>
                      <a:pt x="94119" y="34052"/>
                      <a:pt x="89488" y="29402"/>
                    </a:cubicBezTo>
                    <a:cubicBezTo>
                      <a:pt x="84857" y="24752"/>
                      <a:pt x="76412" y="22291"/>
                      <a:pt x="64290" y="22291"/>
                    </a:cubicBezTo>
                    <a:cubicBezTo>
                      <a:pt x="60748" y="22291"/>
                      <a:pt x="56935" y="22565"/>
                      <a:pt x="52848" y="23111"/>
                    </a:cubicBezTo>
                    <a:cubicBezTo>
                      <a:pt x="48762" y="23659"/>
                      <a:pt x="44540" y="24342"/>
                      <a:pt x="40181" y="25436"/>
                    </a:cubicBezTo>
                    <a:cubicBezTo>
                      <a:pt x="35823" y="26394"/>
                      <a:pt x="31736" y="27625"/>
                      <a:pt x="27922" y="29129"/>
                    </a:cubicBezTo>
                    <a:cubicBezTo>
                      <a:pt x="23972" y="30633"/>
                      <a:pt x="20567" y="32137"/>
                      <a:pt x="17707" y="33915"/>
                    </a:cubicBezTo>
                    <a:lnTo>
                      <a:pt x="9535" y="1435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0" name="Forma libre: forma 19">
                <a:extLst>
                  <a:ext uri="{FF2B5EF4-FFF2-40B4-BE49-F238E27FC236}">
                    <a16:creationId xmlns:a16="http://schemas.microsoft.com/office/drawing/2014/main" id="{5A60C0D0-E421-42E7-9537-29012A169746}"/>
                  </a:ext>
                </a:extLst>
              </p:cNvPr>
              <p:cNvSpPr/>
              <p:nvPr/>
            </p:nvSpPr>
            <p:spPr>
              <a:xfrm>
                <a:off x="2118621" y="5945540"/>
                <a:ext cx="126672" cy="163968"/>
              </a:xfrm>
              <a:custGeom>
                <a:avLst/>
                <a:gdLst>
                  <a:gd name="connsiteX0" fmla="*/ 101338 w 126672"/>
                  <a:gd name="connsiteY0" fmla="*/ 163832 h 163968"/>
                  <a:gd name="connsiteX1" fmla="*/ 101338 w 126672"/>
                  <a:gd name="connsiteY1" fmla="*/ 72616 h 163968"/>
                  <a:gd name="connsiteX2" fmla="*/ 94255 w 126672"/>
                  <a:gd name="connsiteY2" fmla="*/ 35009 h 163968"/>
                  <a:gd name="connsiteX3" fmla="*/ 68240 w 126672"/>
                  <a:gd name="connsiteY3" fmla="*/ 22291 h 163968"/>
                  <a:gd name="connsiteX4" fmla="*/ 40590 w 126672"/>
                  <a:gd name="connsiteY4" fmla="*/ 31454 h 163968"/>
                  <a:gd name="connsiteX5" fmla="*/ 25335 w 126672"/>
                  <a:gd name="connsiteY5" fmla="*/ 54291 h 163968"/>
                  <a:gd name="connsiteX6" fmla="*/ 25335 w 126672"/>
                  <a:gd name="connsiteY6" fmla="*/ 163832 h 163968"/>
                  <a:gd name="connsiteX7" fmla="*/ 0 w 126672"/>
                  <a:gd name="connsiteY7" fmla="*/ 163832 h 163968"/>
                  <a:gd name="connsiteX8" fmla="*/ 0 w 126672"/>
                  <a:gd name="connsiteY8" fmla="*/ 3829 h 163968"/>
                  <a:gd name="connsiteX9" fmla="*/ 17707 w 126672"/>
                  <a:gd name="connsiteY9" fmla="*/ 3829 h 163968"/>
                  <a:gd name="connsiteX10" fmla="*/ 22474 w 126672"/>
                  <a:gd name="connsiteY10" fmla="*/ 23385 h 163968"/>
                  <a:gd name="connsiteX11" fmla="*/ 23700 w 126672"/>
                  <a:gd name="connsiteY11" fmla="*/ 23385 h 163968"/>
                  <a:gd name="connsiteX12" fmla="*/ 43995 w 126672"/>
                  <a:gd name="connsiteY12" fmla="*/ 6564 h 163968"/>
                  <a:gd name="connsiteX13" fmla="*/ 74505 w 126672"/>
                  <a:gd name="connsiteY13" fmla="*/ 0 h 163968"/>
                  <a:gd name="connsiteX14" fmla="*/ 97252 w 126672"/>
                  <a:gd name="connsiteY14" fmla="*/ 3009 h 163968"/>
                  <a:gd name="connsiteX15" fmla="*/ 113597 w 126672"/>
                  <a:gd name="connsiteY15" fmla="*/ 13812 h 163968"/>
                  <a:gd name="connsiteX16" fmla="*/ 123404 w 126672"/>
                  <a:gd name="connsiteY16" fmla="*/ 34462 h 163968"/>
                  <a:gd name="connsiteX17" fmla="*/ 126673 w 126672"/>
                  <a:gd name="connsiteY17" fmla="*/ 67283 h 163968"/>
                  <a:gd name="connsiteX18" fmla="*/ 126673 w 126672"/>
                  <a:gd name="connsiteY18" fmla="*/ 163968 h 163968"/>
                  <a:gd name="connsiteX19" fmla="*/ 101338 w 126672"/>
                  <a:gd name="connsiteY19" fmla="*/ 163968 h 163968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</a:cxnLst>
                <a:rect l="l" t="t" r="r" b="b"/>
                <a:pathLst>
                  <a:path w="126672" h="163968">
                    <a:moveTo>
                      <a:pt x="101338" y="163832"/>
                    </a:moveTo>
                    <a:lnTo>
                      <a:pt x="101338" y="72616"/>
                    </a:lnTo>
                    <a:cubicBezTo>
                      <a:pt x="101338" y="55932"/>
                      <a:pt x="98886" y="43488"/>
                      <a:pt x="94255" y="35009"/>
                    </a:cubicBezTo>
                    <a:cubicBezTo>
                      <a:pt x="89488" y="26530"/>
                      <a:pt x="80771" y="22291"/>
                      <a:pt x="68240" y="22291"/>
                    </a:cubicBezTo>
                    <a:cubicBezTo>
                      <a:pt x="57071" y="22291"/>
                      <a:pt x="47945" y="25300"/>
                      <a:pt x="40590" y="31454"/>
                    </a:cubicBezTo>
                    <a:cubicBezTo>
                      <a:pt x="33371" y="37471"/>
                      <a:pt x="28331" y="45129"/>
                      <a:pt x="25335" y="54291"/>
                    </a:cubicBezTo>
                    <a:lnTo>
                      <a:pt x="25335" y="163832"/>
                    </a:lnTo>
                    <a:lnTo>
                      <a:pt x="0" y="163832"/>
                    </a:lnTo>
                    <a:lnTo>
                      <a:pt x="0" y="3829"/>
                    </a:lnTo>
                    <a:lnTo>
                      <a:pt x="17707" y="3829"/>
                    </a:lnTo>
                    <a:lnTo>
                      <a:pt x="22474" y="23385"/>
                    </a:lnTo>
                    <a:lnTo>
                      <a:pt x="23700" y="23385"/>
                    </a:lnTo>
                    <a:cubicBezTo>
                      <a:pt x="28740" y="16548"/>
                      <a:pt x="35550" y="10941"/>
                      <a:pt x="43995" y="6564"/>
                    </a:cubicBezTo>
                    <a:cubicBezTo>
                      <a:pt x="52576" y="2188"/>
                      <a:pt x="62655" y="0"/>
                      <a:pt x="74505" y="0"/>
                    </a:cubicBezTo>
                    <a:cubicBezTo>
                      <a:pt x="83086" y="0"/>
                      <a:pt x="90714" y="957"/>
                      <a:pt x="97252" y="3009"/>
                    </a:cubicBezTo>
                    <a:cubicBezTo>
                      <a:pt x="103790" y="5060"/>
                      <a:pt x="109238" y="8616"/>
                      <a:pt x="113597" y="13812"/>
                    </a:cubicBezTo>
                    <a:cubicBezTo>
                      <a:pt x="117955" y="19009"/>
                      <a:pt x="121088" y="25847"/>
                      <a:pt x="123404" y="34462"/>
                    </a:cubicBezTo>
                    <a:cubicBezTo>
                      <a:pt x="125583" y="43077"/>
                      <a:pt x="126673" y="54018"/>
                      <a:pt x="126673" y="67283"/>
                    </a:cubicBezTo>
                    <a:lnTo>
                      <a:pt x="126673" y="163968"/>
                    </a:lnTo>
                    <a:lnTo>
                      <a:pt x="101338" y="16396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1" name="Forma libre: forma 20">
                <a:extLst>
                  <a:ext uri="{FF2B5EF4-FFF2-40B4-BE49-F238E27FC236}">
                    <a16:creationId xmlns:a16="http://schemas.microsoft.com/office/drawing/2014/main" id="{9EFB5DE6-D214-4C63-945F-4F8E4E5B22DF}"/>
                  </a:ext>
                </a:extLst>
              </p:cNvPr>
              <p:cNvSpPr/>
              <p:nvPr/>
            </p:nvSpPr>
            <p:spPr>
              <a:xfrm>
                <a:off x="2282342" y="5945404"/>
                <a:ext cx="116457" cy="167934"/>
              </a:xfrm>
              <a:custGeom>
                <a:avLst/>
                <a:gdLst>
                  <a:gd name="connsiteX0" fmla="*/ 116457 w 116457"/>
                  <a:gd name="connsiteY0" fmla="*/ 153438 h 167934"/>
                  <a:gd name="connsiteX1" fmla="*/ 94119 w 116457"/>
                  <a:gd name="connsiteY1" fmla="*/ 164241 h 167934"/>
                  <a:gd name="connsiteX2" fmla="*/ 67014 w 116457"/>
                  <a:gd name="connsiteY2" fmla="*/ 167934 h 167934"/>
                  <a:gd name="connsiteX3" fmla="*/ 36095 w 116457"/>
                  <a:gd name="connsiteY3" fmla="*/ 162053 h 167934"/>
                  <a:gd name="connsiteX4" fmla="*/ 15391 w 116457"/>
                  <a:gd name="connsiteY4" fmla="*/ 145096 h 167934"/>
                  <a:gd name="connsiteX5" fmla="*/ 3678 w 116457"/>
                  <a:gd name="connsiteY5" fmla="*/ 118429 h 167934"/>
                  <a:gd name="connsiteX6" fmla="*/ 0 w 116457"/>
                  <a:gd name="connsiteY6" fmla="*/ 83967 h 167934"/>
                  <a:gd name="connsiteX7" fmla="*/ 17707 w 116457"/>
                  <a:gd name="connsiteY7" fmla="*/ 21607 h 167934"/>
                  <a:gd name="connsiteX8" fmla="*/ 68512 w 116457"/>
                  <a:gd name="connsiteY8" fmla="*/ 0 h 167934"/>
                  <a:gd name="connsiteX9" fmla="*/ 94255 w 116457"/>
                  <a:gd name="connsiteY9" fmla="*/ 2461 h 167934"/>
                  <a:gd name="connsiteX10" fmla="*/ 113324 w 116457"/>
                  <a:gd name="connsiteY10" fmla="*/ 9299 h 167934"/>
                  <a:gd name="connsiteX11" fmla="*/ 106105 w 116457"/>
                  <a:gd name="connsiteY11" fmla="*/ 31316 h 167934"/>
                  <a:gd name="connsiteX12" fmla="*/ 90033 w 116457"/>
                  <a:gd name="connsiteY12" fmla="*/ 24752 h 167934"/>
                  <a:gd name="connsiteX13" fmla="*/ 71100 w 116457"/>
                  <a:gd name="connsiteY13" fmla="*/ 22291 h 167934"/>
                  <a:gd name="connsiteX14" fmla="*/ 26288 w 116457"/>
                  <a:gd name="connsiteY14" fmla="*/ 83693 h 167934"/>
                  <a:gd name="connsiteX15" fmla="*/ 28740 w 116457"/>
                  <a:gd name="connsiteY15" fmla="*/ 106941 h 167934"/>
                  <a:gd name="connsiteX16" fmla="*/ 36640 w 116457"/>
                  <a:gd name="connsiteY16" fmla="*/ 126498 h 167934"/>
                  <a:gd name="connsiteX17" fmla="*/ 51078 w 116457"/>
                  <a:gd name="connsiteY17" fmla="*/ 140173 h 167934"/>
                  <a:gd name="connsiteX18" fmla="*/ 73279 w 116457"/>
                  <a:gd name="connsiteY18" fmla="*/ 145369 h 167934"/>
                  <a:gd name="connsiteX19" fmla="*/ 93574 w 116457"/>
                  <a:gd name="connsiteY19" fmla="*/ 141950 h 167934"/>
                  <a:gd name="connsiteX20" fmla="*/ 108148 w 116457"/>
                  <a:gd name="connsiteY20" fmla="*/ 133882 h 167934"/>
                  <a:gd name="connsiteX21" fmla="*/ 116457 w 116457"/>
                  <a:gd name="connsiteY21" fmla="*/ 153438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</a:cxnLst>
                <a:rect l="l" t="t" r="r" b="b"/>
                <a:pathLst>
                  <a:path w="116457" h="167934">
                    <a:moveTo>
                      <a:pt x="116457" y="153438"/>
                    </a:moveTo>
                    <a:cubicBezTo>
                      <a:pt x="110192" y="158088"/>
                      <a:pt x="102700" y="161643"/>
                      <a:pt x="94119" y="164241"/>
                    </a:cubicBezTo>
                    <a:cubicBezTo>
                      <a:pt x="85402" y="166703"/>
                      <a:pt x="76412" y="167934"/>
                      <a:pt x="67014" y="167934"/>
                    </a:cubicBezTo>
                    <a:cubicBezTo>
                      <a:pt x="54891" y="167934"/>
                      <a:pt x="44540" y="166019"/>
                      <a:pt x="36095" y="162053"/>
                    </a:cubicBezTo>
                    <a:cubicBezTo>
                      <a:pt x="27650" y="158088"/>
                      <a:pt x="20840" y="152481"/>
                      <a:pt x="15391" y="145096"/>
                    </a:cubicBezTo>
                    <a:cubicBezTo>
                      <a:pt x="10079" y="137711"/>
                      <a:pt x="6129" y="128822"/>
                      <a:pt x="3678" y="118429"/>
                    </a:cubicBezTo>
                    <a:cubicBezTo>
                      <a:pt x="1226" y="108036"/>
                      <a:pt x="0" y="96548"/>
                      <a:pt x="0" y="83967"/>
                    </a:cubicBezTo>
                    <a:cubicBezTo>
                      <a:pt x="0" y="56889"/>
                      <a:pt x="5857" y="36103"/>
                      <a:pt x="17707" y="21607"/>
                    </a:cubicBezTo>
                    <a:cubicBezTo>
                      <a:pt x="29557" y="7248"/>
                      <a:pt x="46447" y="0"/>
                      <a:pt x="68512" y="0"/>
                    </a:cubicBezTo>
                    <a:cubicBezTo>
                      <a:pt x="78591" y="0"/>
                      <a:pt x="87173" y="820"/>
                      <a:pt x="94255" y="2461"/>
                    </a:cubicBezTo>
                    <a:cubicBezTo>
                      <a:pt x="101338" y="4102"/>
                      <a:pt x="107740" y="6291"/>
                      <a:pt x="113324" y="9299"/>
                    </a:cubicBezTo>
                    <a:lnTo>
                      <a:pt x="106105" y="31316"/>
                    </a:lnTo>
                    <a:cubicBezTo>
                      <a:pt x="101202" y="28445"/>
                      <a:pt x="95890" y="26393"/>
                      <a:pt x="90033" y="24752"/>
                    </a:cubicBezTo>
                    <a:cubicBezTo>
                      <a:pt x="84176" y="23111"/>
                      <a:pt x="77910" y="22291"/>
                      <a:pt x="71100" y="22291"/>
                    </a:cubicBezTo>
                    <a:cubicBezTo>
                      <a:pt x="41271" y="22291"/>
                      <a:pt x="26288" y="42804"/>
                      <a:pt x="26288" y="83693"/>
                    </a:cubicBezTo>
                    <a:cubicBezTo>
                      <a:pt x="26288" y="91762"/>
                      <a:pt x="27105" y="99557"/>
                      <a:pt x="28740" y="106941"/>
                    </a:cubicBezTo>
                    <a:cubicBezTo>
                      <a:pt x="30374" y="114326"/>
                      <a:pt x="32962" y="120754"/>
                      <a:pt x="36640" y="126498"/>
                    </a:cubicBezTo>
                    <a:cubicBezTo>
                      <a:pt x="40317" y="132241"/>
                      <a:pt x="45085" y="136754"/>
                      <a:pt x="51078" y="140173"/>
                    </a:cubicBezTo>
                    <a:cubicBezTo>
                      <a:pt x="57071" y="143592"/>
                      <a:pt x="64562" y="145369"/>
                      <a:pt x="73279" y="145369"/>
                    </a:cubicBezTo>
                    <a:cubicBezTo>
                      <a:pt x="80771" y="145369"/>
                      <a:pt x="87581" y="144275"/>
                      <a:pt x="93574" y="141950"/>
                    </a:cubicBezTo>
                    <a:cubicBezTo>
                      <a:pt x="99567" y="139626"/>
                      <a:pt x="104471" y="136891"/>
                      <a:pt x="108148" y="133882"/>
                    </a:cubicBezTo>
                    <a:lnTo>
                      <a:pt x="116457" y="153438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2" name="Forma libre: forma 21">
                <a:extLst>
                  <a:ext uri="{FF2B5EF4-FFF2-40B4-BE49-F238E27FC236}">
                    <a16:creationId xmlns:a16="http://schemas.microsoft.com/office/drawing/2014/main" id="{30C70A7F-A985-445E-8B76-2D6A674C5CBA}"/>
                  </a:ext>
                </a:extLst>
              </p:cNvPr>
              <p:cNvSpPr/>
              <p:nvPr/>
            </p:nvSpPr>
            <p:spPr>
              <a:xfrm>
                <a:off x="2417323" y="5945404"/>
                <a:ext cx="138114" cy="167934"/>
              </a:xfrm>
              <a:custGeom>
                <a:avLst/>
                <a:gdLst>
                  <a:gd name="connsiteX0" fmla="*/ 26288 w 138114"/>
                  <a:gd name="connsiteY0" fmla="*/ 83967 h 167934"/>
                  <a:gd name="connsiteX1" fmla="*/ 28740 w 138114"/>
                  <a:gd name="connsiteY1" fmla="*/ 107352 h 167934"/>
                  <a:gd name="connsiteX2" fmla="*/ 36095 w 138114"/>
                  <a:gd name="connsiteY2" fmla="*/ 126908 h 167934"/>
                  <a:gd name="connsiteX3" fmla="*/ 49307 w 138114"/>
                  <a:gd name="connsiteY3" fmla="*/ 140309 h 167934"/>
                  <a:gd name="connsiteX4" fmla="*/ 69193 w 138114"/>
                  <a:gd name="connsiteY4" fmla="*/ 145506 h 167934"/>
                  <a:gd name="connsiteX5" fmla="*/ 112099 w 138114"/>
                  <a:gd name="connsiteY5" fmla="*/ 84104 h 167934"/>
                  <a:gd name="connsiteX6" fmla="*/ 109647 w 138114"/>
                  <a:gd name="connsiteY6" fmla="*/ 60445 h 167934"/>
                  <a:gd name="connsiteX7" fmla="*/ 102292 w 138114"/>
                  <a:gd name="connsiteY7" fmla="*/ 40889 h 167934"/>
                  <a:gd name="connsiteX8" fmla="*/ 89080 w 138114"/>
                  <a:gd name="connsiteY8" fmla="*/ 27624 h 167934"/>
                  <a:gd name="connsiteX9" fmla="*/ 69193 w 138114"/>
                  <a:gd name="connsiteY9" fmla="*/ 22701 h 167934"/>
                  <a:gd name="connsiteX10" fmla="*/ 26288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288" y="83967"/>
                    </a:moveTo>
                    <a:cubicBezTo>
                      <a:pt x="26288" y="92035"/>
                      <a:pt x="27105" y="99830"/>
                      <a:pt x="28740" y="107352"/>
                    </a:cubicBezTo>
                    <a:cubicBezTo>
                      <a:pt x="30374" y="114873"/>
                      <a:pt x="32826" y="121301"/>
                      <a:pt x="36095" y="126908"/>
                    </a:cubicBezTo>
                    <a:cubicBezTo>
                      <a:pt x="39500" y="132378"/>
                      <a:pt x="43859" y="136891"/>
                      <a:pt x="49307" y="140309"/>
                    </a:cubicBezTo>
                    <a:cubicBezTo>
                      <a:pt x="54755" y="143728"/>
                      <a:pt x="61429" y="145506"/>
                      <a:pt x="69193" y="145506"/>
                    </a:cubicBezTo>
                    <a:cubicBezTo>
                      <a:pt x="97797" y="145779"/>
                      <a:pt x="112099" y="125130"/>
                      <a:pt x="112099" y="84104"/>
                    </a:cubicBezTo>
                    <a:cubicBezTo>
                      <a:pt x="112099" y="75761"/>
                      <a:pt x="111281" y="67830"/>
                      <a:pt x="109647" y="60445"/>
                    </a:cubicBezTo>
                    <a:cubicBezTo>
                      <a:pt x="108012" y="52924"/>
                      <a:pt x="105561" y="46496"/>
                      <a:pt x="102292" y="40889"/>
                    </a:cubicBezTo>
                    <a:cubicBezTo>
                      <a:pt x="98886" y="35419"/>
                      <a:pt x="94528" y="30906"/>
                      <a:pt x="89080" y="27624"/>
                    </a:cubicBezTo>
                    <a:cubicBezTo>
                      <a:pt x="83631" y="24342"/>
                      <a:pt x="76957" y="22701"/>
                      <a:pt x="69193" y="22701"/>
                    </a:cubicBezTo>
                    <a:cubicBezTo>
                      <a:pt x="40454" y="22291"/>
                      <a:pt x="26288" y="42804"/>
                      <a:pt x="26288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7081" y="30223"/>
                      <a:pt x="131168" y="39111"/>
                      <a:pt x="134028" y="49505"/>
                    </a:cubicBezTo>
                    <a:cubicBezTo>
                      <a:pt x="136752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033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3" name="Forma libre: forma 22">
                <a:extLst>
                  <a:ext uri="{FF2B5EF4-FFF2-40B4-BE49-F238E27FC236}">
                    <a16:creationId xmlns:a16="http://schemas.microsoft.com/office/drawing/2014/main" id="{61CF37CA-0C1F-4D22-8CE1-69A2E7451EA2}"/>
                  </a:ext>
                </a:extLst>
              </p:cNvPr>
              <p:cNvSpPr/>
              <p:nvPr/>
            </p:nvSpPr>
            <p:spPr>
              <a:xfrm>
                <a:off x="2586492" y="5945404"/>
                <a:ext cx="138114" cy="167934"/>
              </a:xfrm>
              <a:custGeom>
                <a:avLst/>
                <a:gdLst>
                  <a:gd name="connsiteX0" fmla="*/ 26152 w 138114"/>
                  <a:gd name="connsiteY0" fmla="*/ 83967 h 167934"/>
                  <a:gd name="connsiteX1" fmla="*/ 28604 w 138114"/>
                  <a:gd name="connsiteY1" fmla="*/ 107352 h 167934"/>
                  <a:gd name="connsiteX2" fmla="*/ 35959 w 138114"/>
                  <a:gd name="connsiteY2" fmla="*/ 126908 h 167934"/>
                  <a:gd name="connsiteX3" fmla="*/ 49171 w 138114"/>
                  <a:gd name="connsiteY3" fmla="*/ 140309 h 167934"/>
                  <a:gd name="connsiteX4" fmla="*/ 69057 w 138114"/>
                  <a:gd name="connsiteY4" fmla="*/ 145506 h 167934"/>
                  <a:gd name="connsiteX5" fmla="*/ 111962 w 138114"/>
                  <a:gd name="connsiteY5" fmla="*/ 84104 h 167934"/>
                  <a:gd name="connsiteX6" fmla="*/ 109511 w 138114"/>
                  <a:gd name="connsiteY6" fmla="*/ 60445 h 167934"/>
                  <a:gd name="connsiteX7" fmla="*/ 102155 w 138114"/>
                  <a:gd name="connsiteY7" fmla="*/ 40889 h 167934"/>
                  <a:gd name="connsiteX8" fmla="*/ 88943 w 138114"/>
                  <a:gd name="connsiteY8" fmla="*/ 27624 h 167934"/>
                  <a:gd name="connsiteX9" fmla="*/ 69057 w 138114"/>
                  <a:gd name="connsiteY9" fmla="*/ 22701 h 167934"/>
                  <a:gd name="connsiteX10" fmla="*/ 26152 w 138114"/>
                  <a:gd name="connsiteY10" fmla="*/ 83967 h 167934"/>
                  <a:gd name="connsiteX11" fmla="*/ 0 w 138114"/>
                  <a:gd name="connsiteY11" fmla="*/ 83967 h 167934"/>
                  <a:gd name="connsiteX12" fmla="*/ 17843 w 138114"/>
                  <a:gd name="connsiteY12" fmla="*/ 21607 h 167934"/>
                  <a:gd name="connsiteX13" fmla="*/ 69057 w 138114"/>
                  <a:gd name="connsiteY13" fmla="*/ 0 h 167934"/>
                  <a:gd name="connsiteX14" fmla="*/ 99840 w 138114"/>
                  <a:gd name="connsiteY14" fmla="*/ 5880 h 167934"/>
                  <a:gd name="connsiteX15" fmla="*/ 121361 w 138114"/>
                  <a:gd name="connsiteY15" fmla="*/ 22838 h 167934"/>
                  <a:gd name="connsiteX16" fmla="*/ 134028 w 138114"/>
                  <a:gd name="connsiteY16" fmla="*/ 49505 h 167934"/>
                  <a:gd name="connsiteX17" fmla="*/ 138114 w 138114"/>
                  <a:gd name="connsiteY17" fmla="*/ 83967 h 167934"/>
                  <a:gd name="connsiteX18" fmla="*/ 120271 w 138114"/>
                  <a:gd name="connsiteY18" fmla="*/ 146327 h 167934"/>
                  <a:gd name="connsiteX19" fmla="*/ 69057 w 138114"/>
                  <a:gd name="connsiteY19" fmla="*/ 167934 h 167934"/>
                  <a:gd name="connsiteX20" fmla="*/ 38274 w 138114"/>
                  <a:gd name="connsiteY20" fmla="*/ 162053 h 167934"/>
                  <a:gd name="connsiteX21" fmla="*/ 16754 w 138114"/>
                  <a:gd name="connsiteY21" fmla="*/ 145096 h 167934"/>
                  <a:gd name="connsiteX22" fmla="*/ 4086 w 138114"/>
                  <a:gd name="connsiteY22" fmla="*/ 118429 h 167934"/>
                  <a:gd name="connsiteX23" fmla="*/ 0 w 138114"/>
                  <a:gd name="connsiteY23" fmla="*/ 83967 h 16793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</a:cxnLst>
                <a:rect l="l" t="t" r="r" b="b"/>
                <a:pathLst>
                  <a:path w="138114" h="167934">
                    <a:moveTo>
                      <a:pt x="26152" y="83967"/>
                    </a:moveTo>
                    <a:cubicBezTo>
                      <a:pt x="26152" y="92035"/>
                      <a:pt x="26969" y="99830"/>
                      <a:pt x="28604" y="107352"/>
                    </a:cubicBezTo>
                    <a:cubicBezTo>
                      <a:pt x="30238" y="114873"/>
                      <a:pt x="32690" y="121301"/>
                      <a:pt x="35959" y="126908"/>
                    </a:cubicBezTo>
                    <a:cubicBezTo>
                      <a:pt x="39364" y="132378"/>
                      <a:pt x="43723" y="136891"/>
                      <a:pt x="49171" y="140309"/>
                    </a:cubicBezTo>
                    <a:cubicBezTo>
                      <a:pt x="54619" y="143728"/>
                      <a:pt x="61293" y="145506"/>
                      <a:pt x="69057" y="145506"/>
                    </a:cubicBezTo>
                    <a:cubicBezTo>
                      <a:pt x="97661" y="145779"/>
                      <a:pt x="111962" y="125130"/>
                      <a:pt x="111962" y="84104"/>
                    </a:cubicBezTo>
                    <a:cubicBezTo>
                      <a:pt x="111962" y="75761"/>
                      <a:pt x="111145" y="67830"/>
                      <a:pt x="109511" y="60445"/>
                    </a:cubicBezTo>
                    <a:cubicBezTo>
                      <a:pt x="107876" y="53060"/>
                      <a:pt x="105424" y="46496"/>
                      <a:pt x="102155" y="40889"/>
                    </a:cubicBezTo>
                    <a:cubicBezTo>
                      <a:pt x="98750" y="35419"/>
                      <a:pt x="94392" y="30906"/>
                      <a:pt x="88943" y="27624"/>
                    </a:cubicBezTo>
                    <a:cubicBezTo>
                      <a:pt x="83495" y="24342"/>
                      <a:pt x="76821" y="22701"/>
                      <a:pt x="69057" y="22701"/>
                    </a:cubicBezTo>
                    <a:cubicBezTo>
                      <a:pt x="40454" y="22291"/>
                      <a:pt x="26152" y="42804"/>
                      <a:pt x="26152" y="83967"/>
                    </a:cubicBezTo>
                    <a:moveTo>
                      <a:pt x="0" y="83967"/>
                    </a:moveTo>
                    <a:cubicBezTo>
                      <a:pt x="0" y="56889"/>
                      <a:pt x="5993" y="36103"/>
                      <a:pt x="17843" y="21607"/>
                    </a:cubicBezTo>
                    <a:cubicBezTo>
                      <a:pt x="29693" y="7248"/>
                      <a:pt x="46855" y="0"/>
                      <a:pt x="69057" y="0"/>
                    </a:cubicBezTo>
                    <a:cubicBezTo>
                      <a:pt x="80907" y="0"/>
                      <a:pt x="91123" y="1914"/>
                      <a:pt x="99840" y="5880"/>
                    </a:cubicBezTo>
                    <a:cubicBezTo>
                      <a:pt x="108557" y="9846"/>
                      <a:pt x="115776" y="15453"/>
                      <a:pt x="121361" y="22838"/>
                    </a:cubicBezTo>
                    <a:cubicBezTo>
                      <a:pt x="126945" y="30223"/>
                      <a:pt x="131168" y="39111"/>
                      <a:pt x="134028" y="49505"/>
                    </a:cubicBezTo>
                    <a:cubicBezTo>
                      <a:pt x="136888" y="59898"/>
                      <a:pt x="138114" y="71386"/>
                      <a:pt x="138114" y="83967"/>
                    </a:cubicBezTo>
                    <a:cubicBezTo>
                      <a:pt x="138114" y="111044"/>
                      <a:pt x="132121" y="131831"/>
                      <a:pt x="120271" y="146327"/>
                    </a:cubicBezTo>
                    <a:cubicBezTo>
                      <a:pt x="108421" y="160686"/>
                      <a:pt x="91259" y="167934"/>
                      <a:pt x="69057" y="167934"/>
                    </a:cubicBezTo>
                    <a:cubicBezTo>
                      <a:pt x="57207" y="167934"/>
                      <a:pt x="46992" y="166019"/>
                      <a:pt x="38274" y="162053"/>
                    </a:cubicBezTo>
                    <a:cubicBezTo>
                      <a:pt x="29557" y="158088"/>
                      <a:pt x="22338" y="152481"/>
                      <a:pt x="16754" y="145096"/>
                    </a:cubicBezTo>
                    <a:cubicBezTo>
                      <a:pt x="11169" y="137711"/>
                      <a:pt x="6947" y="128822"/>
                      <a:pt x="4086" y="118429"/>
                    </a:cubicBezTo>
                    <a:cubicBezTo>
                      <a:pt x="1362" y="108036"/>
                      <a:pt x="0" y="96548"/>
                      <a:pt x="0" y="83967"/>
                    </a:cubicBezTo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  <p:sp>
            <p:nvSpPr>
              <p:cNvPr id="24" name="Forma libre: forma 23">
                <a:extLst>
                  <a:ext uri="{FF2B5EF4-FFF2-40B4-BE49-F238E27FC236}">
                    <a16:creationId xmlns:a16="http://schemas.microsoft.com/office/drawing/2014/main" id="{5BEC427A-128F-4645-9BBB-B864CF04C1AE}"/>
                  </a:ext>
                </a:extLst>
              </p:cNvPr>
              <p:cNvSpPr/>
              <p:nvPr/>
            </p:nvSpPr>
            <p:spPr>
              <a:xfrm>
                <a:off x="2764379" y="5945540"/>
                <a:ext cx="130895" cy="227832"/>
              </a:xfrm>
              <a:custGeom>
                <a:avLst/>
                <a:gdLst>
                  <a:gd name="connsiteX0" fmla="*/ 63745 w 130895"/>
                  <a:gd name="connsiteY0" fmla="*/ 22291 h 227832"/>
                  <a:gd name="connsiteX1" fmla="*/ 38410 w 130895"/>
                  <a:gd name="connsiteY1" fmla="*/ 30770 h 227832"/>
                  <a:gd name="connsiteX2" fmla="*/ 25335 w 130895"/>
                  <a:gd name="connsiteY2" fmla="*/ 56480 h 227832"/>
                  <a:gd name="connsiteX3" fmla="*/ 25335 w 130895"/>
                  <a:gd name="connsiteY3" fmla="*/ 135934 h 227832"/>
                  <a:gd name="connsiteX4" fmla="*/ 38274 w 130895"/>
                  <a:gd name="connsiteY4" fmla="*/ 142771 h 227832"/>
                  <a:gd name="connsiteX5" fmla="*/ 57479 w 130895"/>
                  <a:gd name="connsiteY5" fmla="*/ 145233 h 227832"/>
                  <a:gd name="connsiteX6" fmla="*/ 92076 w 130895"/>
                  <a:gd name="connsiteY6" fmla="*/ 128686 h 227832"/>
                  <a:gd name="connsiteX7" fmla="*/ 104879 w 130895"/>
                  <a:gd name="connsiteY7" fmla="*/ 80138 h 227832"/>
                  <a:gd name="connsiteX8" fmla="*/ 102700 w 130895"/>
                  <a:gd name="connsiteY8" fmla="*/ 56206 h 227832"/>
                  <a:gd name="connsiteX9" fmla="*/ 95617 w 130895"/>
                  <a:gd name="connsiteY9" fmla="*/ 37881 h 227832"/>
                  <a:gd name="connsiteX10" fmla="*/ 82950 w 130895"/>
                  <a:gd name="connsiteY10" fmla="*/ 26257 h 227832"/>
                  <a:gd name="connsiteX11" fmla="*/ 63745 w 130895"/>
                  <a:gd name="connsiteY11" fmla="*/ 22291 h 227832"/>
                  <a:gd name="connsiteX12" fmla="*/ 63745 w 130895"/>
                  <a:gd name="connsiteY12" fmla="*/ 22291 h 227832"/>
                  <a:gd name="connsiteX13" fmla="*/ 0 w 130895"/>
                  <a:gd name="connsiteY13" fmla="*/ 3829 h 227832"/>
                  <a:gd name="connsiteX14" fmla="*/ 17298 w 130895"/>
                  <a:gd name="connsiteY14" fmla="*/ 3829 h 227832"/>
                  <a:gd name="connsiteX15" fmla="*/ 22065 w 130895"/>
                  <a:gd name="connsiteY15" fmla="*/ 22975 h 227832"/>
                  <a:gd name="connsiteX16" fmla="*/ 23291 w 130895"/>
                  <a:gd name="connsiteY16" fmla="*/ 22975 h 227832"/>
                  <a:gd name="connsiteX17" fmla="*/ 42088 w 130895"/>
                  <a:gd name="connsiteY17" fmla="*/ 5881 h 227832"/>
                  <a:gd name="connsiteX18" fmla="*/ 68512 w 130895"/>
                  <a:gd name="connsiteY18" fmla="*/ 0 h 227832"/>
                  <a:gd name="connsiteX19" fmla="*/ 115504 w 130895"/>
                  <a:gd name="connsiteY19" fmla="*/ 18872 h 227832"/>
                  <a:gd name="connsiteX20" fmla="*/ 130895 w 130895"/>
                  <a:gd name="connsiteY20" fmla="*/ 80685 h 227832"/>
                  <a:gd name="connsiteX21" fmla="*/ 125719 w 130895"/>
                  <a:gd name="connsiteY21" fmla="*/ 116925 h 227832"/>
                  <a:gd name="connsiteX22" fmla="*/ 111145 w 130895"/>
                  <a:gd name="connsiteY22" fmla="*/ 144276 h 227832"/>
                  <a:gd name="connsiteX23" fmla="*/ 88262 w 130895"/>
                  <a:gd name="connsiteY23" fmla="*/ 161507 h 227832"/>
                  <a:gd name="connsiteX24" fmla="*/ 58433 w 130895"/>
                  <a:gd name="connsiteY24" fmla="*/ 167524 h 227832"/>
                  <a:gd name="connsiteX25" fmla="*/ 40045 w 130895"/>
                  <a:gd name="connsiteY25" fmla="*/ 166020 h 227832"/>
                  <a:gd name="connsiteX26" fmla="*/ 25471 w 130895"/>
                  <a:gd name="connsiteY26" fmla="*/ 161096 h 227832"/>
                  <a:gd name="connsiteX27" fmla="*/ 25471 w 130895"/>
                  <a:gd name="connsiteY27" fmla="*/ 227832 h 227832"/>
                  <a:gd name="connsiteX28" fmla="*/ 272 w 130895"/>
                  <a:gd name="connsiteY28" fmla="*/ 227832 h 227832"/>
                  <a:gd name="connsiteX29" fmla="*/ 272 w 130895"/>
                  <a:gd name="connsiteY29" fmla="*/ 3829 h 22783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</a:cxnLst>
                <a:rect l="l" t="t" r="r" b="b"/>
                <a:pathLst>
                  <a:path w="130895" h="227832">
                    <a:moveTo>
                      <a:pt x="63745" y="22291"/>
                    </a:moveTo>
                    <a:cubicBezTo>
                      <a:pt x="52985" y="22291"/>
                      <a:pt x="44540" y="25163"/>
                      <a:pt x="38410" y="30770"/>
                    </a:cubicBezTo>
                    <a:cubicBezTo>
                      <a:pt x="32145" y="36514"/>
                      <a:pt x="27786" y="44992"/>
                      <a:pt x="25335" y="56480"/>
                    </a:cubicBezTo>
                    <a:lnTo>
                      <a:pt x="25335" y="135934"/>
                    </a:lnTo>
                    <a:cubicBezTo>
                      <a:pt x="29148" y="138942"/>
                      <a:pt x="33371" y="141267"/>
                      <a:pt x="38274" y="142771"/>
                    </a:cubicBezTo>
                    <a:cubicBezTo>
                      <a:pt x="43178" y="144412"/>
                      <a:pt x="49579" y="145233"/>
                      <a:pt x="57479" y="145233"/>
                    </a:cubicBezTo>
                    <a:cubicBezTo>
                      <a:pt x="71917" y="145233"/>
                      <a:pt x="83495" y="139763"/>
                      <a:pt x="92076" y="128686"/>
                    </a:cubicBezTo>
                    <a:cubicBezTo>
                      <a:pt x="100657" y="117745"/>
                      <a:pt x="104879" y="101609"/>
                      <a:pt x="104879" y="80138"/>
                    </a:cubicBezTo>
                    <a:cubicBezTo>
                      <a:pt x="104879" y="71386"/>
                      <a:pt x="104199" y="63454"/>
                      <a:pt x="102700" y="56206"/>
                    </a:cubicBezTo>
                    <a:cubicBezTo>
                      <a:pt x="101202" y="49095"/>
                      <a:pt x="98886" y="42941"/>
                      <a:pt x="95617" y="37881"/>
                    </a:cubicBezTo>
                    <a:cubicBezTo>
                      <a:pt x="92348" y="32821"/>
                      <a:pt x="88126" y="28992"/>
                      <a:pt x="82950" y="26257"/>
                    </a:cubicBezTo>
                    <a:cubicBezTo>
                      <a:pt x="77638" y="23659"/>
                      <a:pt x="71373" y="22291"/>
                      <a:pt x="63745" y="22291"/>
                    </a:cubicBezTo>
                    <a:lnTo>
                      <a:pt x="63745" y="22291"/>
                    </a:lnTo>
                    <a:close/>
                    <a:moveTo>
                      <a:pt x="0" y="3829"/>
                    </a:moveTo>
                    <a:lnTo>
                      <a:pt x="17298" y="3829"/>
                    </a:lnTo>
                    <a:lnTo>
                      <a:pt x="22065" y="22975"/>
                    </a:lnTo>
                    <a:lnTo>
                      <a:pt x="23291" y="22975"/>
                    </a:lnTo>
                    <a:cubicBezTo>
                      <a:pt x="28195" y="15453"/>
                      <a:pt x="34460" y="9846"/>
                      <a:pt x="42088" y="5881"/>
                    </a:cubicBezTo>
                    <a:cubicBezTo>
                      <a:pt x="49716" y="1915"/>
                      <a:pt x="58569" y="0"/>
                      <a:pt x="68512" y="0"/>
                    </a:cubicBezTo>
                    <a:cubicBezTo>
                      <a:pt x="89624" y="0"/>
                      <a:pt x="105152" y="6291"/>
                      <a:pt x="115504" y="18872"/>
                    </a:cubicBezTo>
                    <a:cubicBezTo>
                      <a:pt x="125855" y="31454"/>
                      <a:pt x="130895" y="52103"/>
                      <a:pt x="130895" y="80685"/>
                    </a:cubicBezTo>
                    <a:cubicBezTo>
                      <a:pt x="130895" y="94087"/>
                      <a:pt x="129124" y="106258"/>
                      <a:pt x="125719" y="116925"/>
                    </a:cubicBezTo>
                    <a:cubicBezTo>
                      <a:pt x="122314" y="127728"/>
                      <a:pt x="117411" y="136891"/>
                      <a:pt x="111145" y="144276"/>
                    </a:cubicBezTo>
                    <a:cubicBezTo>
                      <a:pt x="104879" y="151797"/>
                      <a:pt x="97116" y="157541"/>
                      <a:pt x="88262" y="161507"/>
                    </a:cubicBezTo>
                    <a:cubicBezTo>
                      <a:pt x="79273" y="165473"/>
                      <a:pt x="69329" y="167524"/>
                      <a:pt x="58433" y="167524"/>
                    </a:cubicBezTo>
                    <a:cubicBezTo>
                      <a:pt x="50669" y="167524"/>
                      <a:pt x="44403" y="167114"/>
                      <a:pt x="40045" y="166020"/>
                    </a:cubicBezTo>
                    <a:cubicBezTo>
                      <a:pt x="35550" y="165062"/>
                      <a:pt x="30647" y="163421"/>
                      <a:pt x="25471" y="161096"/>
                    </a:cubicBezTo>
                    <a:lnTo>
                      <a:pt x="25471" y="227832"/>
                    </a:lnTo>
                    <a:lnTo>
                      <a:pt x="272" y="227832"/>
                    </a:lnTo>
                    <a:lnTo>
                      <a:pt x="272" y="3829"/>
                    </a:lnTo>
                    <a:close/>
                  </a:path>
                </a:pathLst>
              </a:custGeom>
              <a:solidFill>
                <a:srgbClr val="FFFFFF"/>
              </a:solidFill>
              <a:ln w="13613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s-CL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262322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  <p:sldLayoutId id="2147483765" r:id="rId17"/>
    <p:sldLayoutId id="2147483766" r:id="rId18"/>
    <p:sldLayoutId id="2147483767" r:id="rId19"/>
    <p:sldLayoutId id="2147483768" r:id="rId20"/>
    <p:sldLayoutId id="2147483769" r:id="rId21"/>
    <p:sldLayoutId id="2147483770" r:id="rId22"/>
    <p:sldLayoutId id="2147483771" r:id="rId23"/>
    <p:sldLayoutId id="2147483772" r:id="rId24"/>
    <p:sldLayoutId id="2147483773" r:id="rId25"/>
    <p:sldLayoutId id="2147483774" r:id="rId26"/>
    <p:sldLayoutId id="2147483775" r:id="rId27"/>
    <p:sldLayoutId id="2147483776" r:id="rId28"/>
    <p:sldLayoutId id="2147483777" r:id="rId29"/>
    <p:sldLayoutId id="2147483778" r:id="rId30"/>
    <p:sldLayoutId id="2147483779" r:id="rId31"/>
    <p:sldLayoutId id="2147483780" r:id="rId32"/>
    <p:sldLayoutId id="2147483781" r:id="rId33"/>
    <p:sldLayoutId id="2147483782" r:id="rId34"/>
    <p:sldLayoutId id="2147483783" r:id="rId35"/>
    <p:sldLayoutId id="2147483784" r:id="rId36"/>
    <p:sldLayoutId id="2147483818" r:id="rId37"/>
    <p:sldLayoutId id="2147483819" r:id="rId38"/>
    <p:sldLayoutId id="2147483820" r:id="rId39"/>
    <p:sldLayoutId id="2147483837" r:id="rId40"/>
    <p:sldLayoutId id="2147483838" r:id="rId41"/>
  </p:sldLayoutIdLst>
  <p:hf hdr="0"/>
  <p:txStyles>
    <p:titleStyle>
      <a:lvl1pPr algn="l" defTabSz="685418" rtl="0" eaLnBrk="1" latinLnBrk="0" hangingPunct="1">
        <a:lnSpc>
          <a:spcPct val="85000"/>
        </a:lnSpc>
        <a:spcBef>
          <a:spcPct val="0"/>
        </a:spcBef>
        <a:buNone/>
        <a:defRPr sz="2400" b="0" kern="1200">
          <a:solidFill>
            <a:srgbClr val="FFE600"/>
          </a:solidFill>
          <a:latin typeface="EYInterstate Light" panose="02000506000000020004" pitchFamily="2" charset="0"/>
          <a:ea typeface="+mj-ea"/>
          <a:cs typeface="Arial" pitchFamily="34" charset="0"/>
        </a:defRPr>
      </a:lvl1pPr>
    </p:titleStyle>
    <p:bodyStyle>
      <a:lvl1pPr marL="267312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20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1pPr>
      <a:lvl2pPr marL="534625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8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2pPr>
      <a:lvl3pPr marL="801939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6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3pPr>
      <a:lvl4pPr marL="1069251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4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4pPr>
      <a:lvl5pPr marL="1336564" indent="-267312" algn="l" defTabSz="685418" rtl="0" eaLnBrk="1" latinLnBrk="0" hangingPunct="1">
        <a:spcBef>
          <a:spcPct val="20000"/>
        </a:spcBef>
        <a:buClr>
          <a:schemeClr val="tx2"/>
        </a:buClr>
        <a:buSzPct val="110000"/>
        <a:buFont typeface="EYInterstate Light" panose="02000506000000020004" pitchFamily="2" charset="0"/>
        <a:buChar char="•"/>
        <a:defRPr sz="1200" kern="1200">
          <a:solidFill>
            <a:schemeClr val="bg1"/>
          </a:solidFill>
          <a:latin typeface="EYInterstate Light" panose="02000506000000020004" pitchFamily="2" charset="0"/>
          <a:ea typeface="+mn-ea"/>
          <a:cs typeface="+mn-cs"/>
        </a:defRPr>
      </a:lvl5pPr>
      <a:lvl6pPr marL="1884897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7606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314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023" indent="-171354" algn="l" defTabSz="685418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0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418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125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083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544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251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8960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1669" algn="l" defTabSz="685418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Layout" Target="../slideLayouts/slideLayout40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0.xml"/><Relationship Id="rId7" Type="http://schemas.openxmlformats.org/officeDocument/2006/relationships/oleObject" Target="../embeddings/oleObject48.bin"/><Relationship Id="rId2" Type="http://schemas.openxmlformats.org/officeDocument/2006/relationships/tags" Target="../tags/tag129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slideLayout" Target="../slideLayouts/slideLayout8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7" Type="http://schemas.openxmlformats.org/officeDocument/2006/relationships/image" Target="../media/image34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9.bin"/><Relationship Id="rId4" Type="http://schemas.openxmlformats.org/officeDocument/2006/relationships/slideLayout" Target="../slideLayouts/slideLayout8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7" Type="http://schemas.openxmlformats.org/officeDocument/2006/relationships/image" Target="../media/image35.png"/><Relationship Id="rId2" Type="http://schemas.openxmlformats.org/officeDocument/2006/relationships/tags" Target="../tags/tag133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0.bin"/><Relationship Id="rId4" Type="http://schemas.openxmlformats.org/officeDocument/2006/relationships/slideLayout" Target="../slideLayouts/slideLayout8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Layout" Target="../slideLayouts/slideLayout11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7" Type="http://schemas.openxmlformats.org/officeDocument/2006/relationships/hyperlink" Target="mailto:juntadeaccionistas@iddc.cl" TargetMode="External"/><Relationship Id="rId2" Type="http://schemas.openxmlformats.org/officeDocument/2006/relationships/tags" Target="../tags/tag137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Layout" Target="../slideLayouts/slideLayout8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Layout" Target="../slideLayouts/slideLayout8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16.xml"/><Relationship Id="rId7" Type="http://schemas.openxmlformats.org/officeDocument/2006/relationships/image" Target="../media/image1.emf"/><Relationship Id="rId2" Type="http://schemas.openxmlformats.org/officeDocument/2006/relationships/tags" Target="../tags/tag115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42.bin"/><Relationship Id="rId11" Type="http://schemas.openxmlformats.org/officeDocument/2006/relationships/image" Target="../media/image23.png"/><Relationship Id="rId5" Type="http://schemas.openxmlformats.org/officeDocument/2006/relationships/image" Target="../media/image19.pn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7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43.bin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8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tags" Target="../tags/tag120.xml"/><Relationship Id="rId7" Type="http://schemas.openxmlformats.org/officeDocument/2006/relationships/image" Target="../media/image25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Layout" Target="../slideLayouts/slideLayout83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22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11" Type="http://schemas.openxmlformats.org/officeDocument/2006/relationships/image" Target="../media/image29.jpg"/><Relationship Id="rId5" Type="http://schemas.openxmlformats.org/officeDocument/2006/relationships/oleObject" Target="../embeddings/oleObject45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27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24.xml"/><Relationship Id="rId7" Type="http://schemas.openxmlformats.org/officeDocument/2006/relationships/image" Target="../media/image26.png"/><Relationship Id="rId12" Type="http://schemas.openxmlformats.org/officeDocument/2006/relationships/image" Target="../media/image30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11" Type="http://schemas.openxmlformats.org/officeDocument/2006/relationships/image" Target="../media/image29.jpg"/><Relationship Id="rId5" Type="http://schemas.openxmlformats.org/officeDocument/2006/relationships/oleObject" Target="../embeddings/oleObject46.bin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83.xml"/><Relationship Id="rId9" Type="http://schemas.openxmlformats.org/officeDocument/2006/relationships/image" Target="../media/image27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Layout" Target="../slideLayouts/slideLayout114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tags" Target="../tags/tag128.xml"/><Relationship Id="rId7" Type="http://schemas.openxmlformats.org/officeDocument/2006/relationships/image" Target="../media/image31.png"/><Relationship Id="rId2" Type="http://schemas.openxmlformats.org/officeDocument/2006/relationships/tags" Target="../tags/tag127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Layout" Target="../slideLayouts/slideLayout8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2EFFE-947F-422E-96A4-F132F7A7E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104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2EFFE-947F-422E-96A4-F132F7A7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B7B630-F482-4982-8257-63F412D004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32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CD13D9-F3B6-4099-A4B2-0D9F586FFB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3949" y="2356719"/>
            <a:ext cx="3868050" cy="945965"/>
          </a:xfrm>
        </p:spPr>
        <p:txBody>
          <a:bodyPr wrap="square">
            <a:spAutoFit/>
          </a:bodyPr>
          <a:lstStyle/>
          <a:p>
            <a:r>
              <a:rPr lang="es-CL" b="1" dirty="0"/>
              <a:t>Junta General de Socios</a:t>
            </a:r>
            <a:endParaRPr lang="es-CL" sz="4000" b="1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9983E00-6167-469C-8401-924768268A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03949" y="3748968"/>
            <a:ext cx="3593592" cy="645742"/>
          </a:xfrm>
        </p:spPr>
        <p:txBody>
          <a:bodyPr>
            <a:spAutoFit/>
          </a:bodyPr>
          <a:lstStyle/>
          <a:p>
            <a:r>
              <a:rPr lang="es-CL" sz="1600" dirty="0">
                <a:latin typeface="EYInterstate"/>
                <a:cs typeface="Arial"/>
              </a:rPr>
              <a:t>2022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3073454-6B40-4A7F-A0D9-1209DFF8A365}"/>
              </a:ext>
            </a:extLst>
          </p:cNvPr>
          <p:cNvSpPr txBox="1">
            <a:spLocks/>
          </p:cNvSpPr>
          <p:nvPr/>
        </p:nvSpPr>
        <p:spPr>
          <a:xfrm>
            <a:off x="703949" y="3297191"/>
            <a:ext cx="3593592" cy="418576"/>
          </a:xfrm>
          <a:prstGeom prst="rect">
            <a:avLst/>
          </a:prstGeom>
        </p:spPr>
        <p:txBody>
          <a:bodyPr vert="horz" lIns="0" tIns="0" rIns="0" bIns="0" rtlCol="0" anchor="ctr" anchorCtr="0">
            <a:spAutoFit/>
          </a:bodyPr>
          <a:lstStyle>
            <a:lvl1pPr algn="l" defTabSz="685418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3600" b="0" kern="1200">
                <a:solidFill>
                  <a:srgbClr val="2E2E38"/>
                </a:solidFill>
                <a:latin typeface="EYInterstate Light" panose="02000506000000020004" pitchFamily="2" charset="0"/>
                <a:ea typeface="+mj-ea"/>
                <a:cs typeface="Arial" pitchFamily="34" charset="0"/>
              </a:defRPr>
            </a:lvl1pPr>
          </a:lstStyle>
          <a:p>
            <a:r>
              <a:rPr lang="es-CL" sz="1600" dirty="0"/>
              <a:t>Diseño e implementación de sistema de identificación y voto.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972423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agen 5">
            <a:extLst>
              <a:ext uri="{FF2B5EF4-FFF2-40B4-BE49-F238E27FC236}">
                <a16:creationId xmlns:a16="http://schemas.microsoft.com/office/drawing/2014/main" id="{936144B8-AE23-43F3-9491-DF942F357F9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410" t="28225" r="49562" b="14040"/>
          <a:stretch/>
        </p:blipFill>
        <p:spPr>
          <a:xfrm>
            <a:off x="1711389" y="1617796"/>
            <a:ext cx="5721219" cy="3950818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98B25144-50DD-43FB-8A47-E23BF4E88F0C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8716" r="22121" b="27937"/>
          <a:stretch/>
        </p:blipFill>
        <p:spPr>
          <a:xfrm>
            <a:off x="1901683" y="1794000"/>
            <a:ext cx="5340636" cy="3250492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0"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Activar audio desde computador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671798" y="885080"/>
            <a:ext cx="7630827" cy="641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ara activar el audio, debe hacer 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click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en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“Entrar al audio” y luego seleccionar “Entrar al audio por computadora”.</a:t>
            </a: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570B015F-6FE9-4D4E-939C-99B002463D96}"/>
              </a:ext>
            </a:extLst>
          </p:cNvPr>
          <p:cNvSpPr/>
          <p:nvPr/>
        </p:nvSpPr>
        <p:spPr>
          <a:xfrm>
            <a:off x="1711388" y="5044493"/>
            <a:ext cx="812909" cy="333428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9" name="Flecha: hacia abajo 8">
            <a:extLst>
              <a:ext uri="{FF2B5EF4-FFF2-40B4-BE49-F238E27FC236}">
                <a16:creationId xmlns:a16="http://schemas.microsoft.com/office/drawing/2014/main" id="{E580F60C-413B-4A0F-9FF0-CC31BFBECE1E}"/>
              </a:ext>
            </a:extLst>
          </p:cNvPr>
          <p:cNvSpPr/>
          <p:nvPr/>
        </p:nvSpPr>
        <p:spPr>
          <a:xfrm rot="16200000">
            <a:off x="558560" y="4606019"/>
            <a:ext cx="1075778" cy="1229881"/>
          </a:xfrm>
          <a:prstGeom prst="downArrow">
            <a:avLst/>
          </a:prstGeom>
          <a:solidFill>
            <a:srgbClr val="FF00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48463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Activar audio desde computador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681323" y="1698943"/>
            <a:ext cx="7630827" cy="641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ara activar el audio, debe hacer 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click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en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“Entrar al audio” y luego seleccionar “Entrar al audio por computadora”.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0E1533DD-C1E9-4ADF-ACA3-FE526A02EBED}"/>
              </a:ext>
            </a:extLst>
          </p:cNvPr>
          <p:cNvSpPr/>
          <p:nvPr/>
        </p:nvSpPr>
        <p:spPr>
          <a:xfrm>
            <a:off x="4346540" y="5647533"/>
            <a:ext cx="2131936" cy="201786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pic>
        <p:nvPicPr>
          <p:cNvPr id="14" name="Imagen 13">
            <a:extLst>
              <a:ext uri="{FF2B5EF4-FFF2-40B4-BE49-F238E27FC236}">
                <a16:creationId xmlns:a16="http://schemas.microsoft.com/office/drawing/2014/main" id="{BB23C911-6ED2-4DA5-818F-A3861D2B259B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4044" t="29306" r="49340" b="14983"/>
          <a:stretch/>
        </p:blipFill>
        <p:spPr>
          <a:xfrm>
            <a:off x="1711390" y="2361611"/>
            <a:ext cx="5725149" cy="3848689"/>
          </a:xfrm>
          <a:prstGeom prst="rect">
            <a:avLst/>
          </a:prstGeom>
        </p:spPr>
      </p:pic>
      <p:sp>
        <p:nvSpPr>
          <p:cNvPr id="22" name="Rectángulo 21">
            <a:extLst>
              <a:ext uri="{FF2B5EF4-FFF2-40B4-BE49-F238E27FC236}">
                <a16:creationId xmlns:a16="http://schemas.microsoft.com/office/drawing/2014/main" id="{412DC708-6973-4E7E-AF9D-4D5ED1EBBC8D}"/>
              </a:ext>
            </a:extLst>
          </p:cNvPr>
          <p:cNvSpPr/>
          <p:nvPr/>
        </p:nvSpPr>
        <p:spPr>
          <a:xfrm>
            <a:off x="3651950" y="4267200"/>
            <a:ext cx="1796350" cy="259965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6" name="Flecha: hacia abajo 15">
            <a:extLst>
              <a:ext uri="{FF2B5EF4-FFF2-40B4-BE49-F238E27FC236}">
                <a16:creationId xmlns:a16="http://schemas.microsoft.com/office/drawing/2014/main" id="{94C6E831-8ABC-4DFD-AA7F-5ABE9F4693FB}"/>
              </a:ext>
            </a:extLst>
          </p:cNvPr>
          <p:cNvSpPr/>
          <p:nvPr/>
        </p:nvSpPr>
        <p:spPr>
          <a:xfrm rot="16200000">
            <a:off x="1925972" y="3236829"/>
            <a:ext cx="532953" cy="2320705"/>
          </a:xfrm>
          <a:prstGeom prst="downArrow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1167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D03FAB0C-C71F-40C4-BE6F-FAFC689777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5D5F12-9236-45E8-96D1-F6A2C4A63F39}" type="datetime3">
              <a:rPr lang="en-US" smtClean="0"/>
              <a:t>1 April 2022</a:t>
            </a:fld>
            <a:endParaRPr lang="en-IN" dirty="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18A0077B-2429-487C-AFF1-DA3CA6688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CL" dirty="0"/>
              <a:t>Junta de accionistas remota</a:t>
            </a:r>
            <a:endParaRPr lang="en-IN" dirty="0"/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Activar audio desde celular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681323" y="1698943"/>
            <a:ext cx="7630827" cy="6419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ara activar el audio, debe hacer 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click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en el ícono de audífonos y Luego debe seleccionar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“Llamar a través del audio del dispositivo”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.</a:t>
            </a:r>
            <a:endParaRPr lang="es-CL" sz="1600" b="1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  <p:pic>
        <p:nvPicPr>
          <p:cNvPr id="25" name="Imagen 24">
            <a:extLst>
              <a:ext uri="{FF2B5EF4-FFF2-40B4-BE49-F238E27FC236}">
                <a16:creationId xmlns:a16="http://schemas.microsoft.com/office/drawing/2014/main" id="{E04E7EC9-3653-47B5-8D83-A9DD943C204E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61314" t="58296" r="12083" b="5407"/>
          <a:stretch/>
        </p:blipFill>
        <p:spPr>
          <a:xfrm>
            <a:off x="2423160" y="2614881"/>
            <a:ext cx="4447539" cy="3413220"/>
          </a:xfrm>
          <a:prstGeom prst="rect">
            <a:avLst/>
          </a:prstGeom>
        </p:spPr>
      </p:pic>
      <p:sp>
        <p:nvSpPr>
          <p:cNvPr id="26" name="Rectángulo 25">
            <a:extLst>
              <a:ext uri="{FF2B5EF4-FFF2-40B4-BE49-F238E27FC236}">
                <a16:creationId xmlns:a16="http://schemas.microsoft.com/office/drawing/2014/main" id="{D4C5AFB0-ACCE-4CD5-A030-E23C45AD7273}"/>
              </a:ext>
            </a:extLst>
          </p:cNvPr>
          <p:cNvSpPr/>
          <p:nvPr/>
        </p:nvSpPr>
        <p:spPr>
          <a:xfrm>
            <a:off x="2467707" y="4999400"/>
            <a:ext cx="1130544" cy="652020"/>
          </a:xfrm>
          <a:prstGeom prst="rect">
            <a:avLst/>
          </a:prstGeom>
          <a:noFill/>
          <a:ln w="57150"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7" name="Rectángulo 26">
            <a:extLst>
              <a:ext uri="{FF2B5EF4-FFF2-40B4-BE49-F238E27FC236}">
                <a16:creationId xmlns:a16="http://schemas.microsoft.com/office/drawing/2014/main" id="{EB0BB090-C350-42F9-812F-5C0B57AF47A5}"/>
              </a:ext>
            </a:extLst>
          </p:cNvPr>
          <p:cNvSpPr/>
          <p:nvPr/>
        </p:nvSpPr>
        <p:spPr>
          <a:xfrm>
            <a:off x="2607446" y="3865142"/>
            <a:ext cx="3856964" cy="536017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49988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2EFFE-947F-422E-96A4-F132F7A7E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2EFFE-947F-422E-96A4-F132F7A7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B7B630-F482-4982-8257-63F412D004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32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CD13D9-F3B6-4099-A4B2-0D9F586FFB1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830513"/>
            <a:ext cx="3867150" cy="841375"/>
          </a:xfrm>
        </p:spPr>
        <p:txBody>
          <a:bodyPr wrap="square">
            <a:spAutoFit/>
          </a:bodyPr>
          <a:lstStyle/>
          <a:p>
            <a:r>
              <a:rPr lang="es-CL" sz="3200" b="1" dirty="0"/>
              <a:t>PASO A PASO: </a:t>
            </a:r>
            <a:br>
              <a:rPr lang="es-CL" sz="3200" b="1" dirty="0"/>
            </a:br>
            <a:r>
              <a:rPr lang="es-CL" sz="3200" b="1" dirty="0"/>
              <a:t>MESA DE AYUDA</a:t>
            </a:r>
            <a:endParaRPr lang="es-CL" b="1" dirty="0"/>
          </a:p>
        </p:txBody>
      </p:sp>
    </p:spTree>
    <p:extLst>
      <p:ext uri="{BB962C8B-B14F-4D97-AF65-F5344CB8AC3E}">
        <p14:creationId xmlns:p14="http://schemas.microsoft.com/office/powerpoint/2010/main" val="163826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C51F653-29D5-441B-A238-EB1B70522C2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C51F653-29D5-441B-A238-EB1B70522C2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AA005A0-1F5E-4A9A-A949-9DA33DF1EED2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955CE9AD-7AF0-4FBF-9A91-A72ECD0669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Mesa de Ayuda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5CAA2B5-166B-4F41-861B-FEA75D3A43AB}"/>
              </a:ext>
            </a:extLst>
          </p:cNvPr>
          <p:cNvSpPr/>
          <p:nvPr/>
        </p:nvSpPr>
        <p:spPr>
          <a:xfrm>
            <a:off x="798497" y="3044894"/>
            <a:ext cx="7888302" cy="772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08000" rIns="180000" bIns="108000" rtlCol="0" anchor="ctr" anchorCtr="0">
            <a:spAutoFit/>
          </a:bodyPr>
          <a:lstStyle/>
          <a:p>
            <a:pPr marL="0" lvl="1" algn="just"/>
            <a:r>
              <a:rPr lang="es-CL" dirty="0">
                <a:solidFill>
                  <a:schemeClr val="bg1"/>
                </a:solidFill>
              </a:rPr>
              <a:t>El apoyo estará disponible antes del inicio de la asamblea y durante todo el desarrollo de la misma.</a:t>
            </a:r>
            <a:endParaRPr lang="es-CL" dirty="0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3F5BE6E6-C4AB-482D-A84F-25FCBE56739B}"/>
              </a:ext>
            </a:extLst>
          </p:cNvPr>
          <p:cNvCxnSpPr/>
          <p:nvPr/>
        </p:nvCxnSpPr>
        <p:spPr>
          <a:xfrm>
            <a:off x="706054" y="2932801"/>
            <a:ext cx="7731888" cy="0"/>
          </a:xfrm>
          <a:prstGeom prst="line">
            <a:avLst/>
          </a:prstGeom>
          <a:ln w="952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46702635-5FE2-4C99-96DA-32D981D6F5A2}"/>
              </a:ext>
            </a:extLst>
          </p:cNvPr>
          <p:cNvCxnSpPr/>
          <p:nvPr/>
        </p:nvCxnSpPr>
        <p:spPr>
          <a:xfrm>
            <a:off x="706054" y="3945606"/>
            <a:ext cx="7731888" cy="0"/>
          </a:xfrm>
          <a:prstGeom prst="line">
            <a:avLst/>
          </a:prstGeom>
          <a:ln w="952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69133C27-792C-4F69-8C1A-C3EB6565BEE1}"/>
              </a:ext>
            </a:extLst>
          </p:cNvPr>
          <p:cNvCxnSpPr/>
          <p:nvPr/>
        </p:nvCxnSpPr>
        <p:spPr>
          <a:xfrm>
            <a:off x="706054" y="4826538"/>
            <a:ext cx="7731888" cy="0"/>
          </a:xfrm>
          <a:prstGeom prst="line">
            <a:avLst/>
          </a:prstGeom>
          <a:ln w="9525">
            <a:solidFill>
              <a:srgbClr val="FFE6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8">
            <a:extLst>
              <a:ext uri="{FF2B5EF4-FFF2-40B4-BE49-F238E27FC236}">
                <a16:creationId xmlns:a16="http://schemas.microsoft.com/office/drawing/2014/main" id="{40A9FB8D-47D0-4687-9A9C-7CDBFD0E5D5A}"/>
              </a:ext>
            </a:extLst>
          </p:cNvPr>
          <p:cNvSpPr/>
          <p:nvPr/>
        </p:nvSpPr>
        <p:spPr>
          <a:xfrm>
            <a:off x="706054" y="2160694"/>
            <a:ext cx="7888301" cy="772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08000" rIns="180000" bIns="108000" rtlCol="0" anchor="ctr" anchorCtr="0">
            <a:spAutoFit/>
          </a:bodyPr>
          <a:lstStyle/>
          <a:p>
            <a:pPr marL="0" lvl="1" algn="just"/>
            <a:r>
              <a:rPr lang="es-CL" dirty="0"/>
              <a:t>Ante cualquier duda o dificultad, la Mesa de Ayuda dará apoyo a los socios, vía llamada telefónica y/o por correo electrónico</a:t>
            </a:r>
            <a:r>
              <a:rPr lang="es-CL" dirty="0">
                <a:sym typeface="Wingdings" panose="05000000000000000000" pitchFamily="2" charset="2"/>
              </a:rPr>
              <a:t> que se detallan al final.</a:t>
            </a:r>
            <a:endParaRPr lang="es-CL" dirty="0"/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3A72C372-752D-41A5-86BF-3DFE3F92E160}"/>
              </a:ext>
            </a:extLst>
          </p:cNvPr>
          <p:cNvSpPr txBox="1"/>
          <p:nvPr/>
        </p:nvSpPr>
        <p:spPr>
          <a:xfrm>
            <a:off x="830482" y="4021154"/>
            <a:ext cx="773188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1" algn="just"/>
            <a:r>
              <a:rPr lang="es-CL" dirty="0">
                <a:solidFill>
                  <a:schemeClr val="bg1"/>
                </a:solidFill>
              </a:rPr>
              <a:t>Este servicio incluye problemas con la autentificación, la conexión, el ingreso a la videoconferencia, ingresos no autorizados, entre otros.</a:t>
            </a:r>
            <a:endParaRPr lang="es-CL" dirty="0"/>
          </a:p>
        </p:txBody>
      </p:sp>
      <p:sp>
        <p:nvSpPr>
          <p:cNvPr id="22" name="Rectangle 8">
            <a:extLst>
              <a:ext uri="{FF2B5EF4-FFF2-40B4-BE49-F238E27FC236}">
                <a16:creationId xmlns:a16="http://schemas.microsoft.com/office/drawing/2014/main" id="{562E01BE-4154-4076-A31C-7037E30C5A85}"/>
              </a:ext>
            </a:extLst>
          </p:cNvPr>
          <p:cNvSpPr/>
          <p:nvPr/>
        </p:nvSpPr>
        <p:spPr>
          <a:xfrm>
            <a:off x="706054" y="4846318"/>
            <a:ext cx="7980744" cy="772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80000" tIns="108000" rIns="180000" bIns="108000" rtlCol="0" anchor="ctr" anchorCtr="0">
            <a:spAutoFit/>
          </a:bodyPr>
          <a:lstStyle/>
          <a:p>
            <a:pPr marL="0" lvl="1" algn="just"/>
            <a:r>
              <a:rPr lang="es-CL" dirty="0">
                <a:solidFill>
                  <a:schemeClr val="bg1"/>
                </a:solidFill>
              </a:rPr>
              <a:t>Contacta la Mesa de Ayuda en </a:t>
            </a:r>
            <a:r>
              <a:rPr lang="es-CL" b="1" dirty="0">
                <a:solidFill>
                  <a:srgbClr val="FFE600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untadeaccionistas@iddc.cl</a:t>
            </a:r>
            <a:r>
              <a:rPr lang="es-CL" b="1" dirty="0">
                <a:solidFill>
                  <a:srgbClr val="FFE600"/>
                </a:solidFill>
              </a:rPr>
              <a:t>  </a:t>
            </a:r>
            <a:r>
              <a:rPr lang="es-CL" dirty="0">
                <a:solidFill>
                  <a:schemeClr val="bg1"/>
                </a:solidFill>
              </a:rPr>
              <a:t>y/o</a:t>
            </a:r>
          </a:p>
          <a:p>
            <a:pPr marL="0" lvl="1" algn="just"/>
            <a:r>
              <a:rPr lang="es-CL" b="1" dirty="0">
                <a:solidFill>
                  <a:srgbClr val="FFE600"/>
                </a:solidFill>
              </a:rPr>
              <a:t>+56 9 8419 6970 </a:t>
            </a:r>
            <a:r>
              <a:rPr lang="es-CL" dirty="0">
                <a:solidFill>
                  <a:schemeClr val="bg1"/>
                </a:solidFill>
              </a:rPr>
              <a:t>Amparito Canales. </a:t>
            </a:r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847018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5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5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45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6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5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75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/>
      <p:bldP spid="2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RECOMENDACIONES GENERALES DE LA PLATAFORMA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C8FF18FA-DC03-49B2-8000-FA42328C8E01}"/>
              </a:ext>
            </a:extLst>
          </p:cNvPr>
          <p:cNvSpPr/>
          <p:nvPr/>
        </p:nvSpPr>
        <p:spPr>
          <a:xfrm>
            <a:off x="562707" y="1355971"/>
            <a:ext cx="8117059" cy="29072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Uso preferente con Notebook o PC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Se recomienda uso de Navegador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Google Chrome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ara Ingreso a través de dispositivos Móviles con sistema operativo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Android 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(celulares, 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tablets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) se debe descargar App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Chrome 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e ingresar dirección de la Junta:</a:t>
            </a:r>
          </a:p>
          <a:p>
            <a:pPr marL="266700"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b="1" u="sng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https://juntas.iddc.cl/Financoop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600" b="1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ara ingreso a través de dispositivos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Apple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se debe descargar App Chrome, habilitar permisos de audio y entrar en link de la Junta de Socios</a:t>
            </a:r>
          </a:p>
        </p:txBody>
      </p:sp>
    </p:spTree>
    <p:extLst>
      <p:ext uri="{BB962C8B-B14F-4D97-AF65-F5344CB8AC3E}">
        <p14:creationId xmlns:p14="http://schemas.microsoft.com/office/powerpoint/2010/main" val="1632000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3BC33879-F277-4C09-A7A3-6436A99057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25081" y="1761671"/>
            <a:ext cx="5495436" cy="3128007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84709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2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Ingreso al sitio web de la Asamblea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-13231" y="1510716"/>
            <a:ext cx="3504383" cy="31903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La Junta General Anual de Socios y la Junta General Especialmente convocada, cuenta con una única URL asociada, que fue enviada en la citación: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https://juntas.iddc.cl/Financoop</a:t>
            </a: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Una vez Ingresado a la plataforma correspondiente a la junta, haga 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click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en el botón como se indica en la imagen.</a:t>
            </a:r>
            <a:endParaRPr lang="es-CL" sz="1600" b="1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  <p:pic>
        <p:nvPicPr>
          <p:cNvPr id="10" name="Imagen 9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416E9285-8A22-461B-8CF6-59EEC6FB2D9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8117" y="1729967"/>
            <a:ext cx="475817" cy="475817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141DF97B-2466-4D98-9612-D77D955AE0B5}"/>
              </a:ext>
            </a:extLst>
          </p:cNvPr>
          <p:cNvSpPr/>
          <p:nvPr/>
        </p:nvSpPr>
        <p:spPr>
          <a:xfrm>
            <a:off x="4263934" y="1790148"/>
            <a:ext cx="498764" cy="41563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2470961E-96D7-42BD-AB81-F59CF0A4BB10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521" t="3869" r="37380" b="93077"/>
          <a:stretch/>
        </p:blipFill>
        <p:spPr>
          <a:xfrm>
            <a:off x="3648564" y="1532453"/>
            <a:ext cx="5495436" cy="157066"/>
          </a:xfrm>
          <a:prstGeom prst="rect">
            <a:avLst/>
          </a:prstGeom>
        </p:spPr>
      </p:pic>
      <p:sp>
        <p:nvSpPr>
          <p:cNvPr id="14" name="Rectángulo 13">
            <a:extLst>
              <a:ext uri="{FF2B5EF4-FFF2-40B4-BE49-F238E27FC236}">
                <a16:creationId xmlns:a16="http://schemas.microsoft.com/office/drawing/2014/main" id="{7636B3A7-3590-43CA-8A26-BE6982246802}"/>
              </a:ext>
            </a:extLst>
          </p:cNvPr>
          <p:cNvSpPr/>
          <p:nvPr/>
        </p:nvSpPr>
        <p:spPr>
          <a:xfrm>
            <a:off x="4685645" y="1532454"/>
            <a:ext cx="1148184" cy="197514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88639193-97EB-472E-9E54-17AD2EAC7926}"/>
              </a:ext>
            </a:extLst>
          </p:cNvPr>
          <p:cNvSpPr/>
          <p:nvPr/>
        </p:nvSpPr>
        <p:spPr>
          <a:xfrm>
            <a:off x="4186010" y="3641203"/>
            <a:ext cx="2654745" cy="291383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6" name="Flecha: hacia abajo 15">
            <a:extLst>
              <a:ext uri="{FF2B5EF4-FFF2-40B4-BE49-F238E27FC236}">
                <a16:creationId xmlns:a16="http://schemas.microsoft.com/office/drawing/2014/main" id="{EE475094-C9C8-4603-9A46-66B7BADAEC97}"/>
              </a:ext>
            </a:extLst>
          </p:cNvPr>
          <p:cNvSpPr/>
          <p:nvPr/>
        </p:nvSpPr>
        <p:spPr>
          <a:xfrm>
            <a:off x="4937693" y="1041711"/>
            <a:ext cx="532953" cy="469005"/>
          </a:xfrm>
          <a:prstGeom prst="downArrow">
            <a:avLst/>
          </a:prstGeom>
          <a:noFill/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7" name="Flecha: hacia abajo 16">
            <a:extLst>
              <a:ext uri="{FF2B5EF4-FFF2-40B4-BE49-F238E27FC236}">
                <a16:creationId xmlns:a16="http://schemas.microsoft.com/office/drawing/2014/main" id="{72CE67DF-ED44-49DD-ACC0-DB8B1B3B4B6D}"/>
              </a:ext>
            </a:extLst>
          </p:cNvPr>
          <p:cNvSpPr/>
          <p:nvPr/>
        </p:nvSpPr>
        <p:spPr>
          <a:xfrm rot="5232265">
            <a:off x="6955427" y="3552391"/>
            <a:ext cx="532953" cy="469005"/>
          </a:xfrm>
          <a:prstGeom prst="downArrow">
            <a:avLst/>
          </a:prstGeom>
          <a:solidFill>
            <a:srgbClr val="FFC000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A22BD1D-4E3E-40BA-9513-314BD76C6E41}"/>
              </a:ext>
            </a:extLst>
          </p:cNvPr>
          <p:cNvSpPr txBox="1"/>
          <p:nvPr/>
        </p:nvSpPr>
        <p:spPr>
          <a:xfrm>
            <a:off x="3662646" y="1749699"/>
            <a:ext cx="475817" cy="741742"/>
          </a:xfrm>
          <a:prstGeom prst="rect">
            <a:avLst/>
          </a:prstGeom>
          <a:solidFill>
            <a:schemeClr val="bg1"/>
          </a:solidFill>
        </p:spPr>
        <p:txBody>
          <a:bodyPr wrap="square" lIns="0" tIns="36576" rIns="0" bIns="0" rtlCol="0">
            <a:spAutoFit/>
          </a:bodyPr>
          <a:lstStyle/>
          <a:p>
            <a:pPr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</a:pPr>
            <a:r>
              <a:rPr lang="en-US" sz="1200" dirty="0">
                <a:solidFill>
                  <a:schemeClr val="bg1"/>
                </a:solidFill>
              </a:rPr>
              <a:t>LO EMPRESA</a:t>
            </a:r>
          </a:p>
          <a:p>
            <a:pPr marL="356616" indent="-356616">
              <a:lnSpc>
                <a:spcPct val="85000"/>
              </a:lnSpc>
              <a:spcAft>
                <a:spcPts val="60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</a:pPr>
            <a:endParaRPr lang="es-CL" sz="1200" dirty="0" err="1">
              <a:solidFill>
                <a:schemeClr val="bg1"/>
              </a:solidFill>
            </a:endParaRPr>
          </a:p>
        </p:txBody>
      </p:sp>
      <p:sp>
        <p:nvSpPr>
          <p:cNvPr id="19" name="CuadroTexto 18">
            <a:extLst>
              <a:ext uri="{FF2B5EF4-FFF2-40B4-BE49-F238E27FC236}">
                <a16:creationId xmlns:a16="http://schemas.microsoft.com/office/drawing/2014/main" id="{54FA4FFE-B547-4B18-83A6-CA9B6A3EBFC4}"/>
              </a:ext>
            </a:extLst>
          </p:cNvPr>
          <p:cNvSpPr txBox="1"/>
          <p:nvPr/>
        </p:nvSpPr>
        <p:spPr>
          <a:xfrm>
            <a:off x="2081170" y="5413037"/>
            <a:ext cx="5772867" cy="9251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En el caso de ingresar desde equipo celular,  se recomienda hacerlo en equipos con tecnología ANDROID, ya que los equipos IOS (</a:t>
            </a:r>
            <a:r>
              <a:rPr lang="es-CL" sz="1600" kern="0" dirty="0" err="1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Iphone</a:t>
            </a: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) presentan dificultades en algunos  modelos.</a:t>
            </a:r>
            <a:endParaRPr lang="es-CL" sz="1600" b="1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DA3E6D4A-17EB-4EE1-B81C-E88D02023432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57201" y="5413037"/>
            <a:ext cx="1136229" cy="1012051"/>
          </a:xfrm>
          <a:prstGeom prst="rect">
            <a:avLst/>
          </a:prstGeom>
        </p:spPr>
      </p:pic>
      <p:sp>
        <p:nvSpPr>
          <p:cNvPr id="20" name="Rectángulo 19">
            <a:extLst>
              <a:ext uri="{FF2B5EF4-FFF2-40B4-BE49-F238E27FC236}">
                <a16:creationId xmlns:a16="http://schemas.microsoft.com/office/drawing/2014/main" id="{2CADE5FC-7EF8-4404-8000-80102FA73BC6}"/>
              </a:ext>
            </a:extLst>
          </p:cNvPr>
          <p:cNvSpPr/>
          <p:nvPr/>
        </p:nvSpPr>
        <p:spPr>
          <a:xfrm>
            <a:off x="399233" y="5371953"/>
            <a:ext cx="7523018" cy="1146422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DE88033C-F6A9-4365-AC99-F788BD76E817}"/>
              </a:ext>
            </a:extLst>
          </p:cNvPr>
          <p:cNvSpPr txBox="1"/>
          <p:nvPr/>
        </p:nvSpPr>
        <p:spPr>
          <a:xfrm>
            <a:off x="387343" y="4856753"/>
            <a:ext cx="1892597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CL" sz="1600" b="1" dirty="0">
                <a:solidFill>
                  <a:schemeClr val="bg1"/>
                </a:solidFill>
              </a:rPr>
              <a:t>Acceso vía QR</a:t>
            </a:r>
          </a:p>
        </p:txBody>
      </p:sp>
      <p:sp>
        <p:nvSpPr>
          <p:cNvPr id="25" name="Rectángulo 24">
            <a:extLst>
              <a:ext uri="{FF2B5EF4-FFF2-40B4-BE49-F238E27FC236}">
                <a16:creationId xmlns:a16="http://schemas.microsoft.com/office/drawing/2014/main" id="{E220937A-8D10-448E-BA3E-C6262879CD54}"/>
              </a:ext>
            </a:extLst>
          </p:cNvPr>
          <p:cNvSpPr/>
          <p:nvPr/>
        </p:nvSpPr>
        <p:spPr>
          <a:xfrm>
            <a:off x="387343" y="4858381"/>
            <a:ext cx="1852735" cy="303890"/>
          </a:xfrm>
          <a:prstGeom prst="rect">
            <a:avLst/>
          </a:prstGeom>
          <a:noFill/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pic>
        <p:nvPicPr>
          <p:cNvPr id="9220" name="Picture 4" descr="Alerta | Icono Gratis">
            <a:extLst>
              <a:ext uri="{FF2B5EF4-FFF2-40B4-BE49-F238E27FC236}">
                <a16:creationId xmlns:a16="http://schemas.microsoft.com/office/drawing/2014/main" id="{C5C96D52-1D9A-4351-AFEE-DF2E2E7698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04267" y="5693808"/>
            <a:ext cx="392247" cy="39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79178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Imagen 21">
            <a:extLst>
              <a:ext uri="{FF2B5EF4-FFF2-40B4-BE49-F238E27FC236}">
                <a16:creationId xmlns:a16="http://schemas.microsoft.com/office/drawing/2014/main" id="{4E24BC19-3918-45A2-9D2D-112676C563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55906" y="2075744"/>
            <a:ext cx="5657555" cy="4413182"/>
          </a:xfrm>
          <a:prstGeom prst="rect">
            <a:avLst/>
          </a:prstGeom>
        </p:spPr>
      </p:pic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6"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Validación de identidad</a:t>
            </a:r>
            <a:endParaRPr lang="es-CL" dirty="0"/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3848FA3B-83E1-4C95-A4C1-A71052A9ED97}"/>
              </a:ext>
            </a:extLst>
          </p:cNvPr>
          <p:cNvSpPr/>
          <p:nvPr/>
        </p:nvSpPr>
        <p:spPr>
          <a:xfrm>
            <a:off x="230538" y="2199226"/>
            <a:ext cx="2862563" cy="42654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1) Ingresar:</a:t>
            </a:r>
          </a:p>
          <a:p>
            <a:pPr marL="28575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Rut sin puntos y con </a:t>
            </a:r>
            <a:r>
              <a:rPr lang="es-CL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guión</a:t>
            </a:r>
            <a:r>
              <a:rPr lang="es-CL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N°</a:t>
            </a:r>
            <a:r>
              <a:rPr lang="es-CL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 de documento sin puntos</a:t>
            </a:r>
            <a:r>
              <a:rPr lang="es-CL" sz="1400" dirty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CL" sz="1400" dirty="0">
              <a:solidFill>
                <a:schemeClr val="bg1"/>
              </a:solidFill>
              <a:effectLst/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400" kern="0" dirty="0" err="1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Click</a:t>
            </a:r>
            <a:r>
              <a:rPr lang="es-CL" sz="1400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 en botón </a:t>
            </a:r>
            <a:r>
              <a:rPr lang="es-CL" sz="1400" b="1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“Ingresar”</a:t>
            </a:r>
            <a:r>
              <a:rPr lang="es-CL" sz="1400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.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400" kern="0" dirty="0">
              <a:solidFill>
                <a:schemeClr val="bg1"/>
              </a:solidFill>
              <a:latin typeface="Arial" panose="020B0604020202020204" pitchFamily="34" charset="0"/>
              <a:ea typeface="Raleway"/>
              <a:cs typeface="Arial" panose="020B0604020202020204" pitchFamily="34" charset="0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400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2) En caso de no contar con cédula de identidad o pasaporte, contactar a la mesa de ayuda (el número de teléfono y correo los encontrará al final de la presentación).</a:t>
            </a:r>
            <a:endParaRPr lang="es-CL" sz="1400" kern="0" dirty="0">
              <a:solidFill>
                <a:srgbClr val="FF0000"/>
              </a:solidFill>
              <a:latin typeface="Arial" panose="020B0604020202020204" pitchFamily="34" charset="0"/>
              <a:ea typeface="Raleway"/>
              <a:cs typeface="Arial" panose="020B0604020202020204" pitchFamily="34" charset="0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endParaRPr lang="es-CL" sz="1400" kern="0" dirty="0">
              <a:solidFill>
                <a:schemeClr val="bg1"/>
              </a:solidFill>
              <a:latin typeface="Arial" panose="020B0604020202020204" pitchFamily="34" charset="0"/>
              <a:ea typeface="Raleway"/>
              <a:cs typeface="Arial" panose="020B0604020202020204" pitchFamily="34" charset="0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400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3) Una vez entregada la contraseña por parte de la mesa de ayuda, ingresar en </a:t>
            </a:r>
            <a:r>
              <a:rPr lang="es-CL" sz="1300" b="1" kern="0" dirty="0">
                <a:solidFill>
                  <a:schemeClr val="bg1"/>
                </a:solidFill>
                <a:latin typeface="Arial" panose="020B0604020202020204" pitchFamily="34" charset="0"/>
                <a:ea typeface="Raleway"/>
                <a:cs typeface="Arial" panose="020B0604020202020204" pitchFamily="34" charset="0"/>
                <a:sym typeface="Raleway"/>
              </a:rPr>
              <a:t>“ACCESO SIN CEDULA DE IDENTIDAD”.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400" kern="0" dirty="0">
              <a:solidFill>
                <a:schemeClr val="bg1"/>
              </a:solidFill>
              <a:latin typeface="Arial" panose="020B0604020202020204" pitchFamily="34" charset="0"/>
              <a:ea typeface="Raleway"/>
              <a:cs typeface="Arial" panose="020B0604020202020204" pitchFamily="34" charset="0"/>
              <a:sym typeface="Raleway"/>
            </a:endParaRPr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id="{6C91E4CE-3C48-4107-8A88-2DFA435CF2FC}"/>
              </a:ext>
            </a:extLst>
          </p:cNvPr>
          <p:cNvSpPr/>
          <p:nvPr/>
        </p:nvSpPr>
        <p:spPr>
          <a:xfrm>
            <a:off x="2781373" y="1955238"/>
            <a:ext cx="623455" cy="487975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6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7" name="Rectángulo 16">
            <a:extLst>
              <a:ext uri="{FF2B5EF4-FFF2-40B4-BE49-F238E27FC236}">
                <a16:creationId xmlns:a16="http://schemas.microsoft.com/office/drawing/2014/main" id="{4CC8AB90-C773-4E3A-9D2E-F62770F2310E}"/>
              </a:ext>
            </a:extLst>
          </p:cNvPr>
          <p:cNvSpPr/>
          <p:nvPr/>
        </p:nvSpPr>
        <p:spPr>
          <a:xfrm>
            <a:off x="3404828" y="2439566"/>
            <a:ext cx="4866336" cy="989434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18" name="Elipse 17">
            <a:extLst>
              <a:ext uri="{FF2B5EF4-FFF2-40B4-BE49-F238E27FC236}">
                <a16:creationId xmlns:a16="http://schemas.microsoft.com/office/drawing/2014/main" id="{ABE43EED-1C3F-4A34-B239-A85767DCDE93}"/>
              </a:ext>
            </a:extLst>
          </p:cNvPr>
          <p:cNvSpPr/>
          <p:nvPr/>
        </p:nvSpPr>
        <p:spPr>
          <a:xfrm>
            <a:off x="3449929" y="5626692"/>
            <a:ext cx="623455" cy="487975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6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6EE8C9CC-88A5-458D-94E9-AC8B568047D5}"/>
              </a:ext>
            </a:extLst>
          </p:cNvPr>
          <p:cNvSpPr/>
          <p:nvPr/>
        </p:nvSpPr>
        <p:spPr>
          <a:xfrm>
            <a:off x="4521658" y="5488380"/>
            <a:ext cx="2613433" cy="989434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  <p:sp>
        <p:nvSpPr>
          <p:cNvPr id="20" name="Elipse 19">
            <a:extLst>
              <a:ext uri="{FF2B5EF4-FFF2-40B4-BE49-F238E27FC236}">
                <a16:creationId xmlns:a16="http://schemas.microsoft.com/office/drawing/2014/main" id="{3983A50B-6B6C-4931-82BF-2A0DD2F681AE}"/>
              </a:ext>
            </a:extLst>
          </p:cNvPr>
          <p:cNvSpPr/>
          <p:nvPr/>
        </p:nvSpPr>
        <p:spPr>
          <a:xfrm>
            <a:off x="3761656" y="4850078"/>
            <a:ext cx="623455" cy="487975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6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21" name="Rectángulo 20">
            <a:extLst>
              <a:ext uri="{FF2B5EF4-FFF2-40B4-BE49-F238E27FC236}">
                <a16:creationId xmlns:a16="http://schemas.microsoft.com/office/drawing/2014/main" id="{937A8095-ECE6-4CE1-AF71-4727AD252D5D}"/>
              </a:ext>
            </a:extLst>
          </p:cNvPr>
          <p:cNvSpPr/>
          <p:nvPr/>
        </p:nvSpPr>
        <p:spPr>
          <a:xfrm>
            <a:off x="4521657" y="5054248"/>
            <a:ext cx="2613433" cy="344384"/>
          </a:xfrm>
          <a:prstGeom prst="rect">
            <a:avLst/>
          </a:prstGeom>
          <a:noFill/>
          <a:ln>
            <a:solidFill>
              <a:srgbClr val="FFE6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6710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Preguntas personales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757011" y="1539175"/>
            <a:ext cx="3013131" cy="26240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Posteriormente, responda 4 preguntas de </a:t>
            </a: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validación de identidad. </a:t>
            </a:r>
          </a:p>
          <a:p>
            <a:pPr marL="266700"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Si se equivoca, tendrá otro intento por lo que podrá responder otras cuatro preguntas personales para confirmar su identidad.</a:t>
            </a:r>
          </a:p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endParaRPr lang="es-CL" sz="1600" kern="0" dirty="0">
              <a:solidFill>
                <a:srgbClr val="FF0000"/>
              </a:solidFill>
              <a:highlight>
                <a:srgbClr val="FFFF00"/>
              </a:highlight>
              <a:latin typeface="+mj-lt"/>
              <a:ea typeface="Raleway"/>
              <a:cs typeface="Raleway"/>
              <a:sym typeface="Raleway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5EFA666F-1333-4588-A40F-7EF383E703B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833" t="14423" r="29847" b="11483"/>
          <a:stretch/>
        </p:blipFill>
        <p:spPr>
          <a:xfrm>
            <a:off x="4132752" y="1523475"/>
            <a:ext cx="4052600" cy="3811049"/>
          </a:xfrm>
          <a:prstGeom prst="rect">
            <a:avLst/>
          </a:prstGeom>
        </p:spPr>
      </p:pic>
      <p:pic>
        <p:nvPicPr>
          <p:cNvPr id="9" name="Picture 4" descr="Alerta | Icono Gratis">
            <a:extLst>
              <a:ext uri="{FF2B5EF4-FFF2-40B4-BE49-F238E27FC236}">
                <a16:creationId xmlns:a16="http://schemas.microsoft.com/office/drawing/2014/main" id="{AA138BAE-064F-45EC-B5D2-7947096306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538" y="6136105"/>
            <a:ext cx="392247" cy="3922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CuadroTexto 9">
            <a:extLst>
              <a:ext uri="{FF2B5EF4-FFF2-40B4-BE49-F238E27FC236}">
                <a16:creationId xmlns:a16="http://schemas.microsoft.com/office/drawing/2014/main" id="{96DF7D9F-8B9D-4807-A4E6-5CEF454515B7}"/>
              </a:ext>
            </a:extLst>
          </p:cNvPr>
          <p:cNvSpPr txBox="1"/>
          <p:nvPr/>
        </p:nvSpPr>
        <p:spPr>
          <a:xfrm>
            <a:off x="622785" y="6011244"/>
            <a:ext cx="7019934" cy="6419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b="1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La información solicitada es información del Servicio de Registro Civil, no se almacenan las respuestas. Financoop no tiene acceso a  esta información.</a:t>
            </a:r>
          </a:p>
        </p:txBody>
      </p:sp>
    </p:spTree>
    <p:extLst>
      <p:ext uri="{BB962C8B-B14F-4D97-AF65-F5344CB8AC3E}">
        <p14:creationId xmlns:p14="http://schemas.microsoft.com/office/powerpoint/2010/main" val="1799047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4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Página principal de la plataforma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236451" y="1340690"/>
            <a:ext cx="2440074" cy="43229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Una vez en la plataforma, Ud. Encontrará.</a:t>
            </a:r>
            <a:endParaRPr lang="es-CL" sz="1600" kern="0" dirty="0">
              <a:solidFill>
                <a:srgbClr val="FF0000"/>
              </a:solidFill>
              <a:highlight>
                <a:srgbClr val="FFFF00"/>
              </a:highlight>
              <a:latin typeface="+mj-lt"/>
              <a:ea typeface="Raleway"/>
              <a:cs typeface="Raleway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marL="342900" indent="-342900" algn="just">
              <a:lnSpc>
                <a:spcPct val="115000"/>
              </a:lnSpc>
              <a:buClr>
                <a:srgbClr val="595959"/>
              </a:buClr>
              <a:buSzPts val="1800"/>
              <a:buFont typeface="+mj-lt"/>
              <a:buAutoNum type="arabicPeriod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Datos de FINANCOOP (nombre, presidente, horario).</a:t>
            </a:r>
          </a:p>
          <a:p>
            <a:pPr marL="342900" lvl="0" indent="-342900" algn="just">
              <a:lnSpc>
                <a:spcPct val="115000"/>
              </a:lnSpc>
              <a:buClr>
                <a:srgbClr val="595959"/>
              </a:buClr>
              <a:buSzPts val="1800"/>
              <a:buFont typeface="+mj-lt"/>
              <a:buAutoNum type="arabicPeriod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Video conferencia.</a:t>
            </a:r>
          </a:p>
          <a:p>
            <a:pPr marL="342900" indent="-342900" algn="just">
              <a:lnSpc>
                <a:spcPct val="115000"/>
              </a:lnSpc>
              <a:buClr>
                <a:srgbClr val="595959"/>
              </a:buClr>
              <a:buSzPts val="1800"/>
              <a:buFont typeface="+mj-lt"/>
              <a:buAutoNum type="arabicPeriod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Materias a votar (nombre, estado y resultado).</a:t>
            </a:r>
          </a:p>
          <a:p>
            <a:pPr marL="342900" indent="-342900" algn="just">
              <a:lnSpc>
                <a:spcPct val="115000"/>
              </a:lnSpc>
              <a:buClr>
                <a:srgbClr val="595959"/>
              </a:buClr>
              <a:buSzPts val="1800"/>
              <a:buFont typeface="+mj-lt"/>
              <a:buAutoNum type="arabicPeriod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Datos del total de asistentes.</a:t>
            </a: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        Sus datos personales     (    nombre y cantidad de           votos)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8C943C9-1B1A-4214-81D3-1C65F39625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21" t="11933" r="1192" b="14425"/>
          <a:stretch/>
        </p:blipFill>
        <p:spPr>
          <a:xfrm>
            <a:off x="3076575" y="2026872"/>
            <a:ext cx="5647260" cy="2429515"/>
          </a:xfrm>
          <a:prstGeom prst="rect">
            <a:avLst/>
          </a:prstGeom>
        </p:spPr>
      </p:pic>
      <p:pic>
        <p:nvPicPr>
          <p:cNvPr id="10" name="Imagen 9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D4F5F746-C436-4665-8884-FB69824C28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631" y="2028758"/>
            <a:ext cx="138839" cy="138839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6C19CD1A-D168-4099-BBC5-0CB78EE85BA1}"/>
              </a:ext>
            </a:extLst>
          </p:cNvPr>
          <p:cNvSpPr/>
          <p:nvPr/>
        </p:nvSpPr>
        <p:spPr>
          <a:xfrm>
            <a:off x="3240136" y="2043644"/>
            <a:ext cx="246014" cy="12395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7" name="Imagen 16" descr="Icono&#10;&#10;Descripción generada automáticamente">
            <a:extLst>
              <a:ext uri="{FF2B5EF4-FFF2-40B4-BE49-F238E27FC236}">
                <a16:creationId xmlns:a16="http://schemas.microsoft.com/office/drawing/2014/main" id="{6C6C5420-2E0F-440E-82F5-AA206A9953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9470" y="2689540"/>
            <a:ext cx="2491566" cy="1661044"/>
          </a:xfrm>
          <a:prstGeom prst="rect">
            <a:avLst/>
          </a:prstGeom>
        </p:spPr>
      </p:pic>
      <p:pic>
        <p:nvPicPr>
          <p:cNvPr id="19" name="Imagen 18">
            <a:extLst>
              <a:ext uri="{FF2B5EF4-FFF2-40B4-BE49-F238E27FC236}">
                <a16:creationId xmlns:a16="http://schemas.microsoft.com/office/drawing/2014/main" id="{F3EA3925-033A-4B36-8E01-A2119046B7B4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521" t="50000" r="32156" b="20728"/>
          <a:stretch/>
        </p:blipFill>
        <p:spPr>
          <a:xfrm>
            <a:off x="3076575" y="4433537"/>
            <a:ext cx="5647260" cy="1423472"/>
          </a:xfrm>
          <a:prstGeom prst="rect">
            <a:avLst/>
          </a:prstGeom>
        </p:spPr>
      </p:pic>
      <p:sp>
        <p:nvSpPr>
          <p:cNvPr id="20" name="Elipse 19">
            <a:extLst>
              <a:ext uri="{FF2B5EF4-FFF2-40B4-BE49-F238E27FC236}">
                <a16:creationId xmlns:a16="http://schemas.microsoft.com/office/drawing/2014/main" id="{FDA351C6-39F2-48DA-9A14-B2DCC0D01B5D}"/>
              </a:ext>
            </a:extLst>
          </p:cNvPr>
          <p:cNvSpPr/>
          <p:nvPr/>
        </p:nvSpPr>
        <p:spPr>
          <a:xfrm>
            <a:off x="3374798" y="2910746"/>
            <a:ext cx="368120" cy="305112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24" name="CuadroTexto 23">
            <a:extLst>
              <a:ext uri="{FF2B5EF4-FFF2-40B4-BE49-F238E27FC236}">
                <a16:creationId xmlns:a16="http://schemas.microsoft.com/office/drawing/2014/main" id="{FD30A38C-2B6E-42E0-B35C-50D909496BC3}"/>
              </a:ext>
            </a:extLst>
          </p:cNvPr>
          <p:cNvSpPr txBox="1"/>
          <p:nvPr/>
        </p:nvSpPr>
        <p:spPr>
          <a:xfrm>
            <a:off x="2286000" y="3244334"/>
            <a:ext cx="457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s-CL" sz="1800" dirty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:a16="http://schemas.microsoft.com/office/drawing/2014/main" id="{245BC387-F6E4-4764-935F-51A794EE1F9E}"/>
              </a:ext>
            </a:extLst>
          </p:cNvPr>
          <p:cNvSpPr/>
          <p:nvPr/>
        </p:nvSpPr>
        <p:spPr>
          <a:xfrm>
            <a:off x="3363143" y="2918810"/>
            <a:ext cx="432139" cy="38353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7" name="Elipse 26">
            <a:extLst>
              <a:ext uri="{FF2B5EF4-FFF2-40B4-BE49-F238E27FC236}">
                <a16:creationId xmlns:a16="http://schemas.microsoft.com/office/drawing/2014/main" id="{78502891-AAF5-4AC9-89E6-89349158E8B1}"/>
              </a:ext>
            </a:extLst>
          </p:cNvPr>
          <p:cNvSpPr/>
          <p:nvPr/>
        </p:nvSpPr>
        <p:spPr>
          <a:xfrm>
            <a:off x="7373989" y="1908647"/>
            <a:ext cx="406278" cy="322819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28" name="Rectángulo 27">
            <a:extLst>
              <a:ext uri="{FF2B5EF4-FFF2-40B4-BE49-F238E27FC236}">
                <a16:creationId xmlns:a16="http://schemas.microsoft.com/office/drawing/2014/main" id="{0F1684C1-B2AF-4B3A-8387-10B33C242E99}"/>
              </a:ext>
            </a:extLst>
          </p:cNvPr>
          <p:cNvSpPr/>
          <p:nvPr/>
        </p:nvSpPr>
        <p:spPr>
          <a:xfrm>
            <a:off x="7366289" y="1931902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tx1"/>
                </a:solidFill>
              </a:rPr>
              <a:t>2</a:t>
            </a:r>
          </a:p>
        </p:txBody>
      </p:sp>
      <p:sp>
        <p:nvSpPr>
          <p:cNvPr id="29" name="Elipse 28">
            <a:extLst>
              <a:ext uri="{FF2B5EF4-FFF2-40B4-BE49-F238E27FC236}">
                <a16:creationId xmlns:a16="http://schemas.microsoft.com/office/drawing/2014/main" id="{185454DA-0914-4D46-89AA-42DEAB77B9DF}"/>
              </a:ext>
            </a:extLst>
          </p:cNvPr>
          <p:cNvSpPr/>
          <p:nvPr/>
        </p:nvSpPr>
        <p:spPr>
          <a:xfrm>
            <a:off x="2987004" y="1886687"/>
            <a:ext cx="376139" cy="322819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30" name="Rectángulo 29">
            <a:extLst>
              <a:ext uri="{FF2B5EF4-FFF2-40B4-BE49-F238E27FC236}">
                <a16:creationId xmlns:a16="http://schemas.microsoft.com/office/drawing/2014/main" id="{EEB50BDA-AD3A-46EC-9048-7EF405DB648B}"/>
              </a:ext>
            </a:extLst>
          </p:cNvPr>
          <p:cNvSpPr/>
          <p:nvPr/>
        </p:nvSpPr>
        <p:spPr>
          <a:xfrm>
            <a:off x="2960340" y="1929714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31" name="Elipse 30">
            <a:extLst>
              <a:ext uri="{FF2B5EF4-FFF2-40B4-BE49-F238E27FC236}">
                <a16:creationId xmlns:a16="http://schemas.microsoft.com/office/drawing/2014/main" id="{1782346B-8E6B-4140-ADFB-874C14199EFB}"/>
              </a:ext>
            </a:extLst>
          </p:cNvPr>
          <p:cNvSpPr/>
          <p:nvPr/>
        </p:nvSpPr>
        <p:spPr>
          <a:xfrm>
            <a:off x="5610962" y="2026872"/>
            <a:ext cx="290043" cy="334722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32" name="Rectángulo 31">
            <a:extLst>
              <a:ext uri="{FF2B5EF4-FFF2-40B4-BE49-F238E27FC236}">
                <a16:creationId xmlns:a16="http://schemas.microsoft.com/office/drawing/2014/main" id="{8526FF7A-D21C-4FC6-896A-3F6D204F8FEC}"/>
              </a:ext>
            </a:extLst>
          </p:cNvPr>
          <p:cNvSpPr/>
          <p:nvPr/>
        </p:nvSpPr>
        <p:spPr>
          <a:xfrm>
            <a:off x="5541961" y="2097701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33" name="Elipse 32">
            <a:extLst>
              <a:ext uri="{FF2B5EF4-FFF2-40B4-BE49-F238E27FC236}">
                <a16:creationId xmlns:a16="http://schemas.microsoft.com/office/drawing/2014/main" id="{43E9827E-5220-4877-B1B3-524E58561DD1}"/>
              </a:ext>
            </a:extLst>
          </p:cNvPr>
          <p:cNvSpPr/>
          <p:nvPr/>
        </p:nvSpPr>
        <p:spPr>
          <a:xfrm>
            <a:off x="3854270" y="4688799"/>
            <a:ext cx="320174" cy="283637"/>
          </a:xfrm>
          <a:prstGeom prst="ellipse">
            <a:avLst/>
          </a:prstGeom>
          <a:solidFill>
            <a:srgbClr val="FFE600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34" name="Rectángulo 33">
            <a:extLst>
              <a:ext uri="{FF2B5EF4-FFF2-40B4-BE49-F238E27FC236}">
                <a16:creationId xmlns:a16="http://schemas.microsoft.com/office/drawing/2014/main" id="{FF68A732-76A5-416E-882A-8E0E44597A55}"/>
              </a:ext>
            </a:extLst>
          </p:cNvPr>
          <p:cNvSpPr/>
          <p:nvPr/>
        </p:nvSpPr>
        <p:spPr>
          <a:xfrm>
            <a:off x="3795282" y="4732696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tx1"/>
                </a:solidFill>
              </a:rPr>
              <a:t>3</a:t>
            </a:r>
          </a:p>
        </p:txBody>
      </p:sp>
      <p:sp>
        <p:nvSpPr>
          <p:cNvPr id="37" name="Elipse 36">
            <a:extLst>
              <a:ext uri="{FF2B5EF4-FFF2-40B4-BE49-F238E27FC236}">
                <a16:creationId xmlns:a16="http://schemas.microsoft.com/office/drawing/2014/main" id="{F44B9222-71BC-45ED-B071-2DD2B27B19D2}"/>
              </a:ext>
            </a:extLst>
          </p:cNvPr>
          <p:cNvSpPr/>
          <p:nvPr/>
        </p:nvSpPr>
        <p:spPr>
          <a:xfrm>
            <a:off x="318006" y="2273024"/>
            <a:ext cx="195264" cy="201298"/>
          </a:xfrm>
          <a:prstGeom prst="ellipse">
            <a:avLst/>
          </a:prstGeom>
          <a:solidFill>
            <a:srgbClr val="2E2E38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38" name="Elipse 37">
            <a:extLst>
              <a:ext uri="{FF2B5EF4-FFF2-40B4-BE49-F238E27FC236}">
                <a16:creationId xmlns:a16="http://schemas.microsoft.com/office/drawing/2014/main" id="{8310BA8A-A392-4870-BE3A-22A4DFFF4EC2}"/>
              </a:ext>
            </a:extLst>
          </p:cNvPr>
          <p:cNvSpPr/>
          <p:nvPr/>
        </p:nvSpPr>
        <p:spPr>
          <a:xfrm>
            <a:off x="318006" y="3101042"/>
            <a:ext cx="195264" cy="201298"/>
          </a:xfrm>
          <a:prstGeom prst="ellipse">
            <a:avLst/>
          </a:prstGeom>
          <a:solidFill>
            <a:srgbClr val="2E2E38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39" name="Elipse 38">
            <a:extLst>
              <a:ext uri="{FF2B5EF4-FFF2-40B4-BE49-F238E27FC236}">
                <a16:creationId xmlns:a16="http://schemas.microsoft.com/office/drawing/2014/main" id="{82E2168E-01F4-4AA1-8D81-E3A7E6E4C438}"/>
              </a:ext>
            </a:extLst>
          </p:cNvPr>
          <p:cNvSpPr/>
          <p:nvPr/>
        </p:nvSpPr>
        <p:spPr>
          <a:xfrm>
            <a:off x="306671" y="3400599"/>
            <a:ext cx="195264" cy="201298"/>
          </a:xfrm>
          <a:prstGeom prst="ellipse">
            <a:avLst/>
          </a:prstGeom>
          <a:solidFill>
            <a:srgbClr val="2E2E38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40" name="Elipse 39">
            <a:extLst>
              <a:ext uri="{FF2B5EF4-FFF2-40B4-BE49-F238E27FC236}">
                <a16:creationId xmlns:a16="http://schemas.microsoft.com/office/drawing/2014/main" id="{400F441E-6E82-42DC-AAF5-7456F3929DE8}"/>
              </a:ext>
            </a:extLst>
          </p:cNvPr>
          <p:cNvSpPr/>
          <p:nvPr/>
        </p:nvSpPr>
        <p:spPr>
          <a:xfrm>
            <a:off x="306671" y="4232239"/>
            <a:ext cx="195264" cy="201298"/>
          </a:xfrm>
          <a:prstGeom prst="ellipse">
            <a:avLst/>
          </a:prstGeom>
          <a:solidFill>
            <a:srgbClr val="2E2E38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41" name="Elipse 40">
            <a:extLst>
              <a:ext uri="{FF2B5EF4-FFF2-40B4-BE49-F238E27FC236}">
                <a16:creationId xmlns:a16="http://schemas.microsoft.com/office/drawing/2014/main" id="{3EBF71E3-6FEE-4B8B-8BCE-3D5626BCCEFD}"/>
              </a:ext>
            </a:extLst>
          </p:cNvPr>
          <p:cNvSpPr/>
          <p:nvPr/>
        </p:nvSpPr>
        <p:spPr>
          <a:xfrm>
            <a:off x="306671" y="5089531"/>
            <a:ext cx="195264" cy="201298"/>
          </a:xfrm>
          <a:prstGeom prst="ellipse">
            <a:avLst/>
          </a:prstGeom>
          <a:solidFill>
            <a:srgbClr val="2E2E38"/>
          </a:solidFill>
          <a:ln w="9525">
            <a:solidFill>
              <a:srgbClr val="FFE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700" dirty="0">
              <a:solidFill>
                <a:schemeClr val="tx1"/>
              </a:solidFill>
            </a:endParaRPr>
          </a:p>
        </p:txBody>
      </p:sp>
      <p:sp>
        <p:nvSpPr>
          <p:cNvPr id="42" name="Rectángulo 41">
            <a:extLst>
              <a:ext uri="{FF2B5EF4-FFF2-40B4-BE49-F238E27FC236}">
                <a16:creationId xmlns:a16="http://schemas.microsoft.com/office/drawing/2014/main" id="{2B7E8665-684B-4736-8557-FF6B7C265498}"/>
              </a:ext>
            </a:extLst>
          </p:cNvPr>
          <p:cNvSpPr/>
          <p:nvPr/>
        </p:nvSpPr>
        <p:spPr>
          <a:xfrm>
            <a:off x="207409" y="2238682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1DBEE4DF-AF95-44A3-8FE3-4E37CBE23481}"/>
              </a:ext>
            </a:extLst>
          </p:cNvPr>
          <p:cNvSpPr/>
          <p:nvPr/>
        </p:nvSpPr>
        <p:spPr>
          <a:xfrm>
            <a:off x="194762" y="3064657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44" name="Rectángulo 43">
            <a:extLst>
              <a:ext uri="{FF2B5EF4-FFF2-40B4-BE49-F238E27FC236}">
                <a16:creationId xmlns:a16="http://schemas.microsoft.com/office/drawing/2014/main" id="{4C973B20-B22A-4A16-AFDC-29D4B4DE80D0}"/>
              </a:ext>
            </a:extLst>
          </p:cNvPr>
          <p:cNvSpPr/>
          <p:nvPr/>
        </p:nvSpPr>
        <p:spPr>
          <a:xfrm>
            <a:off x="187952" y="3366272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45" name="Rectángulo 44">
            <a:extLst>
              <a:ext uri="{FF2B5EF4-FFF2-40B4-BE49-F238E27FC236}">
                <a16:creationId xmlns:a16="http://schemas.microsoft.com/office/drawing/2014/main" id="{9D1F36AA-2A17-4948-91A8-AAC74E777AFE}"/>
              </a:ext>
            </a:extLst>
          </p:cNvPr>
          <p:cNvSpPr/>
          <p:nvPr/>
        </p:nvSpPr>
        <p:spPr>
          <a:xfrm>
            <a:off x="192169" y="4199953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46" name="Rectángulo 45">
            <a:extLst>
              <a:ext uri="{FF2B5EF4-FFF2-40B4-BE49-F238E27FC236}">
                <a16:creationId xmlns:a16="http://schemas.microsoft.com/office/drawing/2014/main" id="{2A5823E0-CA5F-4ED8-80DF-550ED9B6C685}"/>
              </a:ext>
            </a:extLst>
          </p:cNvPr>
          <p:cNvSpPr/>
          <p:nvPr/>
        </p:nvSpPr>
        <p:spPr>
          <a:xfrm>
            <a:off x="184891" y="5060013"/>
            <a:ext cx="438150" cy="32281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r>
              <a:rPr lang="es-CL" sz="1200" b="1" dirty="0">
                <a:solidFill>
                  <a:schemeClr val="bg1"/>
                </a:solidFill>
              </a:rPr>
              <a:t>5</a:t>
            </a:r>
          </a:p>
        </p:txBody>
      </p:sp>
      <p:pic>
        <p:nvPicPr>
          <p:cNvPr id="35" name="Imagen 34" descr="Logotipo&#10;&#10;Descripción generada automáticamente">
            <a:extLst>
              <a:ext uri="{FF2B5EF4-FFF2-40B4-BE49-F238E27FC236}">
                <a16:creationId xmlns:a16="http://schemas.microsoft.com/office/drawing/2014/main" id="{2BE0C051-81D8-4260-A119-F54646D63D4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2702" y="2827511"/>
            <a:ext cx="1385102" cy="1385102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AE031B04-F86D-4DAD-B6AC-BC3DFC5AE6EA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4421" y="2802330"/>
            <a:ext cx="1538259" cy="1128872"/>
          </a:xfrm>
          <a:prstGeom prst="rect">
            <a:avLst/>
          </a:prstGeom>
        </p:spPr>
      </p:pic>
      <p:sp>
        <p:nvSpPr>
          <p:cNvPr id="9" name="Rectángulo 8">
            <a:extLst>
              <a:ext uri="{FF2B5EF4-FFF2-40B4-BE49-F238E27FC236}">
                <a16:creationId xmlns:a16="http://schemas.microsoft.com/office/drawing/2014/main" id="{97B3AB4A-F6F9-4BBA-AD2E-8E9713AD430A}"/>
              </a:ext>
            </a:extLst>
          </p:cNvPr>
          <p:cNvSpPr/>
          <p:nvPr/>
        </p:nvSpPr>
        <p:spPr>
          <a:xfrm>
            <a:off x="3681414" y="3668423"/>
            <a:ext cx="1902884" cy="52826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64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8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Página principal de la plataforma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230538" y="1514509"/>
            <a:ext cx="2690462" cy="46061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A indicación del presidente, y tal como se realiza en una Junta presencial, una vez iniciada la asamblea se cerrará la puerta y no se permitirán nuevos ingresos.</a:t>
            </a: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endParaRPr lang="es-CL" sz="1600" kern="0" dirty="0">
              <a:solidFill>
                <a:schemeClr val="bg1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b="1" kern="0" dirty="0">
                <a:solidFill>
                  <a:srgbClr val="FFE600"/>
                </a:solidFill>
                <a:latin typeface="+mj-lt"/>
                <a:ea typeface="Raleway"/>
                <a:cs typeface="Raleway"/>
                <a:sym typeface="Raleway"/>
              </a:rPr>
              <a:t>¿Qué pasa si me desconecto de la asamblea y quiero volver a ingresar?</a:t>
            </a: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endParaRPr lang="es-CL" sz="1600" b="1" kern="0" dirty="0">
              <a:solidFill>
                <a:srgbClr val="FFE600"/>
              </a:solidFill>
              <a:latin typeface="+mj-lt"/>
              <a:ea typeface="Raleway"/>
              <a:cs typeface="Raleway"/>
              <a:sym typeface="Raleway"/>
            </a:endParaRPr>
          </a:p>
          <a:p>
            <a:pPr lvl="0" algn="just">
              <a:lnSpc>
                <a:spcPct val="115000"/>
              </a:lnSpc>
              <a:buClr>
                <a:srgbClr val="595959"/>
              </a:buClr>
              <a:buSzPts val="1800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Las personas que ingresaron y salieron de la asamblea por algún motivo, podrán volver a ingresar realizando el mismo procedimiento de ingreso.</a:t>
            </a:r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C8C943C9-1B1A-4214-81D3-1C65F39625F9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21" t="11933" r="1192" b="14425"/>
          <a:stretch/>
        </p:blipFill>
        <p:spPr>
          <a:xfrm>
            <a:off x="3078960" y="2144162"/>
            <a:ext cx="5973055" cy="2569676"/>
          </a:xfrm>
          <a:prstGeom prst="rect">
            <a:avLst/>
          </a:prstGeom>
        </p:spPr>
      </p:pic>
      <p:pic>
        <p:nvPicPr>
          <p:cNvPr id="10" name="Imagen 9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D4F5F746-C436-4665-8884-FB69824C28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05166" y="2144161"/>
            <a:ext cx="146849" cy="146849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6C19CD1A-D168-4099-BBC5-0CB78EE85BA1}"/>
              </a:ext>
            </a:extLst>
          </p:cNvPr>
          <p:cNvSpPr/>
          <p:nvPr/>
        </p:nvSpPr>
        <p:spPr>
          <a:xfrm>
            <a:off x="3241261" y="2153125"/>
            <a:ext cx="288758" cy="1468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7" name="Imagen 16" descr="Icono&#10;&#10;Descripción generada automáticamente">
            <a:extLst>
              <a:ext uri="{FF2B5EF4-FFF2-40B4-BE49-F238E27FC236}">
                <a16:creationId xmlns:a16="http://schemas.microsoft.com/office/drawing/2014/main" id="{6C6C5420-2E0F-440E-82F5-AA206A9953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50225" y="2806831"/>
            <a:ext cx="2700492" cy="1800328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36810D91-600E-4778-AF24-B844D9BD4939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2521" t="50000" r="32156" b="20728"/>
          <a:stretch/>
        </p:blipFill>
        <p:spPr>
          <a:xfrm>
            <a:off x="3078960" y="4615049"/>
            <a:ext cx="5973055" cy="1505593"/>
          </a:xfrm>
          <a:prstGeom prst="rect">
            <a:avLst/>
          </a:prstGeom>
        </p:spPr>
      </p:pic>
      <p:pic>
        <p:nvPicPr>
          <p:cNvPr id="15" name="Imagen 14" descr="Logotipo&#10;&#10;Descripción generada automáticamente">
            <a:extLst>
              <a:ext uri="{FF2B5EF4-FFF2-40B4-BE49-F238E27FC236}">
                <a16:creationId xmlns:a16="http://schemas.microsoft.com/office/drawing/2014/main" id="{DBA0F9A7-855A-4CAE-BD3E-465F0912CB6D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79449" y="3014444"/>
            <a:ext cx="1385102" cy="1385102"/>
          </a:xfrm>
          <a:prstGeom prst="rect">
            <a:avLst/>
          </a:prstGeom>
        </p:spPr>
      </p:pic>
      <p:pic>
        <p:nvPicPr>
          <p:cNvPr id="16" name="Imagen 15">
            <a:extLst>
              <a:ext uri="{FF2B5EF4-FFF2-40B4-BE49-F238E27FC236}">
                <a16:creationId xmlns:a16="http://schemas.microsoft.com/office/drawing/2014/main" id="{80B2E984-9152-4E1F-8FC3-D33343067C34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802870" y="3014444"/>
            <a:ext cx="1538259" cy="1128872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17866C3A-0179-4B6A-B54D-93AB048F1B89}"/>
              </a:ext>
            </a:extLst>
          </p:cNvPr>
          <p:cNvSpPr/>
          <p:nvPr/>
        </p:nvSpPr>
        <p:spPr>
          <a:xfrm>
            <a:off x="3679863" y="3880537"/>
            <a:ext cx="1902884" cy="528264"/>
          </a:xfrm>
          <a:prstGeom prst="rect">
            <a:avLst/>
          </a:prstGeom>
          <a:solidFill>
            <a:schemeClr val="tx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1691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0CA2EFFE-947F-422E-96A4-F132F7A7E22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2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0CA2EFFE-947F-422E-96A4-F132F7A7E22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B7B630-F482-4982-8257-63F412D0048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32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CD13D9-F3B6-4099-A4B2-0D9F586FFB1A}"/>
              </a:ext>
            </a:extLst>
          </p:cNvPr>
          <p:cNvSpPr>
            <a:spLocks noGrp="1"/>
          </p:cNvSpPr>
          <p:nvPr>
            <p:ph type="ctrTitle" idx="4294967295"/>
          </p:nvPr>
        </p:nvSpPr>
        <p:spPr>
          <a:xfrm>
            <a:off x="0" y="2620963"/>
            <a:ext cx="3867150" cy="1260475"/>
          </a:xfrm>
        </p:spPr>
        <p:txBody>
          <a:bodyPr wrap="square">
            <a:spAutoFit/>
          </a:bodyPr>
          <a:lstStyle/>
          <a:p>
            <a:r>
              <a:rPr lang="es-CL" sz="3200" b="1" dirty="0"/>
              <a:t>PASO A PASO: INGRESO A VIDEOCONFERENCIA</a:t>
            </a:r>
            <a:endParaRPr lang="es-CL" b="1" dirty="0"/>
          </a:p>
        </p:txBody>
      </p:sp>
    </p:spTree>
    <p:extLst>
      <p:ext uri="{BB962C8B-B14F-4D97-AF65-F5344CB8AC3E}">
        <p14:creationId xmlns:p14="http://schemas.microsoft.com/office/powerpoint/2010/main" val="2224382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8CAA2D68-7695-41C7-B9A6-C68C427C61F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8CAA2D68-7695-41C7-B9A6-C68C427C61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4BC2F1DA-7689-47B6-B43A-A20DB055C93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t" anchorCtr="0">
            <a:noAutofit/>
          </a:bodyPr>
          <a:lstStyle/>
          <a:p>
            <a:pPr algn="ctr"/>
            <a:endParaRPr lang="es-CL" sz="2400" dirty="0">
              <a:solidFill>
                <a:schemeClr val="tx1"/>
              </a:solidFill>
              <a:latin typeface="EYInterstate Light" panose="02000506000000020004" pitchFamily="2" charset="0"/>
              <a:ea typeface="+mj-ea"/>
              <a:cs typeface="Arial" panose="020B0604020202020204" pitchFamily="34" charset="0"/>
              <a:sym typeface="EYInterstate Light" panose="02000506000000020004" pitchFamily="2" charset="0"/>
            </a:endParaRPr>
          </a:p>
        </p:txBody>
      </p:sp>
      <p:sp>
        <p:nvSpPr>
          <p:cNvPr id="5" name="Título 4">
            <a:extLst>
              <a:ext uri="{FF2B5EF4-FFF2-40B4-BE49-F238E27FC236}">
                <a16:creationId xmlns:a16="http://schemas.microsoft.com/office/drawing/2014/main" id="{67CE96F3-2006-4317-BAA0-FE8EEA79FF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CL" dirty="0"/>
              <a:t>PASO A PASO: </a:t>
            </a:r>
            <a:r>
              <a:rPr lang="es-CL" dirty="0">
                <a:solidFill>
                  <a:schemeClr val="bg1"/>
                </a:solidFill>
              </a:rPr>
              <a:t>Entrar a la videoconferencia desde un dispositivo móvil.</a:t>
            </a:r>
            <a:endParaRPr lang="es-CL" dirty="0"/>
          </a:p>
        </p:txBody>
      </p:sp>
      <p:sp>
        <p:nvSpPr>
          <p:cNvPr id="2" name="Rectángulo 1">
            <a:extLst>
              <a:ext uri="{FF2B5EF4-FFF2-40B4-BE49-F238E27FC236}">
                <a16:creationId xmlns:a16="http://schemas.microsoft.com/office/drawing/2014/main" id="{00E06483-72F9-4AB1-BD25-76EFB6F98A10}"/>
              </a:ext>
            </a:extLst>
          </p:cNvPr>
          <p:cNvSpPr/>
          <p:nvPr/>
        </p:nvSpPr>
        <p:spPr>
          <a:xfrm>
            <a:off x="526473" y="1522827"/>
            <a:ext cx="7765018" cy="3588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 algn="just">
              <a:lnSpc>
                <a:spcPct val="115000"/>
              </a:lnSpc>
              <a:buClr>
                <a:srgbClr val="595959"/>
              </a:buClr>
              <a:buSzPts val="1800"/>
              <a:buFont typeface="Arial" panose="020B0604020202020204" pitchFamily="34" charset="0"/>
              <a:buChar char="•"/>
            </a:pPr>
            <a:r>
              <a:rPr lang="es-CL" sz="1600" kern="0" dirty="0">
                <a:solidFill>
                  <a:schemeClr val="bg1"/>
                </a:solidFill>
                <a:latin typeface="+mj-lt"/>
                <a:ea typeface="Raleway"/>
                <a:cs typeface="Raleway"/>
                <a:sym typeface="Raleway"/>
              </a:rPr>
              <a:t>Al ingresar, debe esperar a que el anfitrión le de autorización.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CA01E8F7-66CB-4FFD-9811-156D9E6E6BF8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2521" t="11943" r="1416" b="12667"/>
          <a:stretch/>
        </p:blipFill>
        <p:spPr>
          <a:xfrm>
            <a:off x="788940" y="2029724"/>
            <a:ext cx="7581899" cy="3347055"/>
          </a:xfrm>
          <a:prstGeom prst="rect">
            <a:avLst/>
          </a:prstGeom>
        </p:spPr>
      </p:pic>
      <p:pic>
        <p:nvPicPr>
          <p:cNvPr id="10" name="Imagen 9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D4F5F746-C436-4665-8884-FB69824C280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6051" y="2325018"/>
            <a:ext cx="146849" cy="146849"/>
          </a:xfrm>
          <a:prstGeom prst="rect">
            <a:avLst/>
          </a:prstGeom>
        </p:spPr>
      </p:pic>
      <p:sp>
        <p:nvSpPr>
          <p:cNvPr id="13" name="Rectángulo 12">
            <a:extLst>
              <a:ext uri="{FF2B5EF4-FFF2-40B4-BE49-F238E27FC236}">
                <a16:creationId xmlns:a16="http://schemas.microsoft.com/office/drawing/2014/main" id="{6C19CD1A-D168-4099-BBC5-0CB78EE85BA1}"/>
              </a:ext>
            </a:extLst>
          </p:cNvPr>
          <p:cNvSpPr/>
          <p:nvPr/>
        </p:nvSpPr>
        <p:spPr>
          <a:xfrm>
            <a:off x="1372900" y="2325124"/>
            <a:ext cx="288758" cy="146743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5" name="Rectángulo 14">
            <a:extLst>
              <a:ext uri="{FF2B5EF4-FFF2-40B4-BE49-F238E27FC236}">
                <a16:creationId xmlns:a16="http://schemas.microsoft.com/office/drawing/2014/main" id="{044EFD37-0430-4583-9E86-DC82997A46F5}"/>
              </a:ext>
            </a:extLst>
          </p:cNvPr>
          <p:cNvSpPr/>
          <p:nvPr/>
        </p:nvSpPr>
        <p:spPr>
          <a:xfrm>
            <a:off x="6492814" y="4956443"/>
            <a:ext cx="1869558" cy="41186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pic>
        <p:nvPicPr>
          <p:cNvPr id="16" name="Imagen 15" descr="Logotipo, nombre de la empresa&#10;&#10;Descripción generada automáticamente">
            <a:extLst>
              <a:ext uri="{FF2B5EF4-FFF2-40B4-BE49-F238E27FC236}">
                <a16:creationId xmlns:a16="http://schemas.microsoft.com/office/drawing/2014/main" id="{BE3D6EFB-A4E1-487C-AC69-164FBD7E6B1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614" y="2034757"/>
            <a:ext cx="155926" cy="155926"/>
          </a:xfrm>
          <a:prstGeom prst="rect">
            <a:avLst/>
          </a:prstGeom>
        </p:spPr>
      </p:pic>
      <p:sp>
        <p:nvSpPr>
          <p:cNvPr id="18" name="Rectángulo 17">
            <a:extLst>
              <a:ext uri="{FF2B5EF4-FFF2-40B4-BE49-F238E27FC236}">
                <a16:creationId xmlns:a16="http://schemas.microsoft.com/office/drawing/2014/main" id="{57CCE17A-9134-4A5B-9509-FF45409EB7CF}"/>
              </a:ext>
            </a:extLst>
          </p:cNvPr>
          <p:cNvSpPr/>
          <p:nvPr/>
        </p:nvSpPr>
        <p:spPr>
          <a:xfrm>
            <a:off x="1010717" y="2031933"/>
            <a:ext cx="288758" cy="146849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ln>
                <a:solidFill>
                  <a:schemeClr val="bg1"/>
                </a:solidFill>
              </a:ln>
              <a:solidFill>
                <a:schemeClr val="bg1"/>
              </a:solidFill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041D1A63-9886-47FA-95D1-1425696E1754}"/>
              </a:ext>
            </a:extLst>
          </p:cNvPr>
          <p:cNvSpPr/>
          <p:nvPr/>
        </p:nvSpPr>
        <p:spPr>
          <a:xfrm>
            <a:off x="1517279" y="3838242"/>
            <a:ext cx="2408885" cy="627185"/>
          </a:xfrm>
          <a:prstGeom prst="rect">
            <a:avLst/>
          </a:prstGeom>
          <a:noFill/>
          <a:ln>
            <a:solidFill>
              <a:srgbClr val="FF0000"/>
            </a:solidFill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/>
            <a:endParaRPr lang="es-CL" sz="1200" dirty="0">
              <a:solidFill>
                <a:schemeClr val="tx1"/>
              </a:solidFill>
              <a:highlight>
                <a:srgbClr val="FF00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34530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ATdieryM1kzxQFCCkcL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53d4j_9TG9eydLeTy0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53d4j_9TG9eydLeTy0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wJLA1KVy.1.W5Glx4h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wJLA1KVy.1.W5Glx4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Bj1FkabZQFzgwqNVIEe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hwJLA1KVy.1.W5Glx4h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ZjyUwhr.fI5shSrMQL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lnqWCKYOg12T4m6XbPE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53d4j_9TG9eydLeTy0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aBppC7fZDtY_74Vi9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dCabjEaf6.QzkdIc8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aj2v7itkYpBThjcup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rJfho0h0Gs7Z1uNSs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c58XbG27HxbWu7_OaGo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KvNQDPKjuGLKH6niV1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znJfSGBdWA0bgbjZO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pHOsSOPXETKa4OoYDag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ATdieryM1kzxQFCCkcL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KvNQDPKjuGLKH6niV1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lvaUHfeOdPhTOnVOpW0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G0K.V7mHMoNFJf1Sc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OsI3JHwIW6AXKtyq8L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lnqWCKYOg12T4m6XbPE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lvaUHfeOdPhTOnVOpW0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53d4j_9TG9eydLeTy0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aBppC7fZDtY_74Vi9C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dCabjEaf6.QzkdIc8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aj2v7itkYpBThjcupP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rJfho0h0Gs7Z1uNSs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c58XbG27HxbWu7_OaGo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znJfSGBdWA0bgbjZOx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pHOsSOPXETKa4OoYDag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ATdieryM1kzxQFCCkcL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LKvNQDPKjuGLKH6niV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G0K.V7mHMoNFJf1Scm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lvaUHfeOdPhTOnVOpW0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yG0K.V7mHMoNFJf1Scm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OsI3JHwIW6AXKtyq8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T7skLOySa2tFd6f0W_8e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lnqWCKYOg12T4m6XbPE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Nz53d4j_9TG9eydLeTy0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uaBppC7fZDtY_74Vi9C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zdCabjEaf6.QzkdIc8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laj2v7itkYpBThjcupP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OsI3JHwIW6AXKtyq8L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krJfho0h0Gs7Z1uNSsB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c58XbG27HxbWu7_OaGo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LznJfSGBdWA0bgbjZOx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4pHOsSOPXETKa4OoYDag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2.xml><?xml version="1.0" encoding="utf-8"?>
<a:theme xmlns:a="http://schemas.openxmlformats.org/drawingml/2006/main" name="1_EY dark background">
  <a:themeElements>
    <a:clrScheme name="EY Color">
      <a:dk1>
        <a:srgbClr val="2E2E38"/>
      </a:dk1>
      <a:lt1>
        <a:sysClr val="window" lastClr="FFFFFF"/>
      </a:lt1>
      <a:dk2>
        <a:srgbClr val="FFE600"/>
      </a:dk2>
      <a:lt2>
        <a:srgbClr val="000000"/>
      </a:lt2>
      <a:accent1>
        <a:srgbClr val="2DB757"/>
      </a:accent1>
      <a:accent2>
        <a:srgbClr val="27ACAA"/>
      </a:accent2>
      <a:accent3>
        <a:srgbClr val="188CE5"/>
      </a:accent3>
      <a:accent4>
        <a:srgbClr val="3D108A"/>
      </a:accent4>
      <a:accent5>
        <a:srgbClr val="FF4136"/>
      </a:accent5>
      <a:accent6>
        <a:srgbClr val="FF6D00"/>
      </a:accent6>
      <a:hlink>
        <a:srgbClr val="0000FF"/>
      </a:hlink>
      <a:folHlink>
        <a:srgbClr val="800080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3.xml><?xml version="1.0" encoding="utf-8"?>
<a:theme xmlns:a="http://schemas.openxmlformats.org/drawingml/2006/main" name="2_EY dark background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">
      <a:majorFont>
        <a:latin typeface="EYInterstate Light"/>
        <a:ea typeface=""/>
        <a:cs typeface=""/>
      </a:majorFont>
      <a:minorFont>
        <a:latin typeface="EYInterstate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36576" rIns="0" bIns="0" rtlCol="0">
        <a:spAutoFit/>
      </a:bodyPr>
      <a:lstStyle>
        <a:defPPr marL="356616" indent="-356616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err="1" smtClean="0">
            <a:solidFill>
              <a:schemeClr val="bg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" id="{70D5E770-E04A-461B-8456-F6738B8BE2E4}" vid="{F52AAF16-9B59-4DE1-94DD-2FF8D6A8C858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B54541525E56C74B97855DB4A19A284A" ma:contentTypeVersion="10" ma:contentTypeDescription="Crear nuevo documento." ma:contentTypeScope="" ma:versionID="f9d01d07044a2c028b88bf34323cb449">
  <xsd:schema xmlns:xsd="http://www.w3.org/2001/XMLSchema" xmlns:xs="http://www.w3.org/2001/XMLSchema" xmlns:p="http://schemas.microsoft.com/office/2006/metadata/properties" xmlns:ns2="10c73b6f-f3da-4171-9d23-c05918a9778c" xmlns:ns3="4e155992-7084-48a5-a649-7cd02dddffe8" targetNamespace="http://schemas.microsoft.com/office/2006/metadata/properties" ma:root="true" ma:fieldsID="6ba1c796bae9bafcae6f432d652703af" ns2:_="" ns3:_="">
    <xsd:import namespace="10c73b6f-f3da-4171-9d23-c05918a9778c"/>
    <xsd:import namespace="4e155992-7084-48a5-a649-7cd02dddffe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0c73b6f-f3da-4171-9d23-c05918a9778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155992-7084-48a5-a649-7cd02dddffe8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Compartido con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talles de uso compartido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e contenido"/>
        <xsd:element ref="dc:title" minOccurs="0" maxOccurs="1" ma:index="4" ma:displayName="Títu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6A8AA4-4926-46E6-903D-18BF1ED53B9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82DE0C5-D1B3-4012-8FB4-90F83357599C}">
  <ds:schemaRefs>
    <ds:schemaRef ds:uri="http://schemas.microsoft.com/office/2006/metadata/properties"/>
    <ds:schemaRef ds:uri="10c73b6f-f3da-4171-9d23-c05918a9778c"/>
    <ds:schemaRef ds:uri="http://schemas.microsoft.com/office/2006/documentManagement/types"/>
    <ds:schemaRef ds:uri="4e155992-7084-48a5-a649-7cd02dddffe8"/>
    <ds:schemaRef ds:uri="http://purl.org/dc/terms/"/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purl.org/dc/elements/1.1/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C9992CFA-1B13-4079-A46B-0EC98D608B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0c73b6f-f3da-4171-9d23-c05918a9778c"/>
    <ds:schemaRef ds:uri="4e155992-7084-48a5-a649-7cd02dddffe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560</TotalTime>
  <Words>750</Words>
  <Application>Microsoft Office PowerPoint</Application>
  <PresentationFormat>Presentación en pantalla (4:3)</PresentationFormat>
  <Paragraphs>78</Paragraphs>
  <Slides>14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5</vt:i4>
      </vt:variant>
      <vt:variant>
        <vt:lpstr>Tema</vt:lpstr>
      </vt:variant>
      <vt:variant>
        <vt:i4>3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4</vt:i4>
      </vt:variant>
    </vt:vector>
  </HeadingPairs>
  <TitlesOfParts>
    <vt:vector size="23" baseType="lpstr">
      <vt:lpstr>Arial</vt:lpstr>
      <vt:lpstr>Calibri</vt:lpstr>
      <vt:lpstr>EYInterstate</vt:lpstr>
      <vt:lpstr>EYInterstate Light</vt:lpstr>
      <vt:lpstr>Georgia</vt:lpstr>
      <vt:lpstr>EY dark background</vt:lpstr>
      <vt:lpstr>1_EY dark background</vt:lpstr>
      <vt:lpstr>2_EY dark background</vt:lpstr>
      <vt:lpstr>think-cell Slide</vt:lpstr>
      <vt:lpstr>Junta General de Socios</vt:lpstr>
      <vt:lpstr>RECOMENDACIONES GENERALES DE LA PLATAFORMA</vt:lpstr>
      <vt:lpstr>PASO A PASO: Ingreso al sitio web de la Asamblea</vt:lpstr>
      <vt:lpstr>PASO A PASO: Validación de identidad</vt:lpstr>
      <vt:lpstr>PASO A PASO: Preguntas personales</vt:lpstr>
      <vt:lpstr>PASO A PASO: Página principal de la plataforma</vt:lpstr>
      <vt:lpstr>PASO A PASO: Página principal de la plataforma</vt:lpstr>
      <vt:lpstr>PASO A PASO: INGRESO A VIDEOCONFERENCIA</vt:lpstr>
      <vt:lpstr>PASO A PASO: Entrar a la videoconferencia desde un dispositivo móvil.</vt:lpstr>
      <vt:lpstr>PASO A PASO: Activar audio desde computador</vt:lpstr>
      <vt:lpstr>PASO A PASO: Activar audio desde computador</vt:lpstr>
      <vt:lpstr>PASO A PASO: Activar audio desde celular</vt:lpstr>
      <vt:lpstr>PASO A PASO:  MESA DE AYUDA</vt:lpstr>
      <vt:lpstr>Mesa de Ayud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Junta de accionistas remota Diseño e implementación de sistema de identificación, voto y firma de acta</dc:title>
  <dc:creator>Victor Fenner Rivera</dc:creator>
  <cp:lastModifiedBy>Sergio Gonzalez</cp:lastModifiedBy>
  <cp:revision>117</cp:revision>
  <dcterms:created xsi:type="dcterms:W3CDTF">2020-03-26T15:05:01Z</dcterms:created>
  <dcterms:modified xsi:type="dcterms:W3CDTF">2022-04-01T17:30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54541525E56C74B97855DB4A19A284A</vt:lpwstr>
  </property>
</Properties>
</file>